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24"/>
  </p:notesMasterIdLst>
  <p:handoutMasterIdLst>
    <p:handoutMasterId r:id="rId25"/>
  </p:handoutMasterIdLst>
  <p:sldIdLst>
    <p:sldId id="532" r:id="rId5"/>
    <p:sldId id="3427" r:id="rId6"/>
    <p:sldId id="2134808448" r:id="rId7"/>
    <p:sldId id="2134808449" r:id="rId8"/>
    <p:sldId id="2134808421" r:id="rId9"/>
    <p:sldId id="291" r:id="rId10"/>
    <p:sldId id="2134808429" r:id="rId11"/>
    <p:sldId id="2134808435" r:id="rId12"/>
    <p:sldId id="2134808451" r:id="rId13"/>
    <p:sldId id="2134808399" r:id="rId14"/>
    <p:sldId id="2134808377" r:id="rId15"/>
    <p:sldId id="2134808437" r:id="rId16"/>
    <p:sldId id="2134808386" r:id="rId17"/>
    <p:sldId id="2134808465" r:id="rId18"/>
    <p:sldId id="2007579796" r:id="rId19"/>
    <p:sldId id="2134808375" r:id="rId20"/>
    <p:sldId id="386" r:id="rId21"/>
    <p:sldId id="2134808443" r:id="rId22"/>
    <p:sldId id="2134808408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2981FC-75C9-1A3A-DA45-EFF61DBE2FBB}" name="Tuscher Laura" initials="TL" userId="S::laura.zwaller@netcom-bw.de::fc9dbf36-9989-4e46-9e85-0f71b5719b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2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824099-159F-4EF7-BDE1-8591047C77BA}" v="369" dt="2025-09-16T13:38:03.1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affert Philipp" userId="a88e4583-73a0-45e2-8fe2-a5f5f988bdc8" providerId="ADAL" clId="{9769A241-F266-48B8-9937-EC8C36F96D6D}"/>
    <pc:docChg chg="modSld">
      <pc:chgData name="Schaffert Philipp" userId="a88e4583-73a0-45e2-8fe2-a5f5f988bdc8" providerId="ADAL" clId="{9769A241-F266-48B8-9937-EC8C36F96D6D}" dt="2025-04-25T15:55:22.267" v="51" actId="20577"/>
      <pc:docMkLst>
        <pc:docMk/>
      </pc:docMkLst>
      <pc:sldChg chg="modSp mod">
        <pc:chgData name="Schaffert Philipp" userId="a88e4583-73a0-45e2-8fe2-a5f5f988bdc8" providerId="ADAL" clId="{9769A241-F266-48B8-9937-EC8C36F96D6D}" dt="2025-04-25T15:54:17.416" v="23" actId="20577"/>
        <pc:sldMkLst>
          <pc:docMk/>
          <pc:sldMk cId="177954741" sldId="291"/>
        </pc:sldMkLst>
      </pc:sldChg>
      <pc:sldChg chg="modSp mod">
        <pc:chgData name="Schaffert Philipp" userId="a88e4583-73a0-45e2-8fe2-a5f5f988bdc8" providerId="ADAL" clId="{9769A241-F266-48B8-9937-EC8C36F96D6D}" dt="2025-04-25T15:55:22.267" v="51" actId="20577"/>
        <pc:sldMkLst>
          <pc:docMk/>
          <pc:sldMk cId="2237547831" sldId="2134808408"/>
        </pc:sldMkLst>
      </pc:sldChg>
      <pc:sldChg chg="modSp mod">
        <pc:chgData name="Schaffert Philipp" userId="a88e4583-73a0-45e2-8fe2-a5f5f988bdc8" providerId="ADAL" clId="{9769A241-F266-48B8-9937-EC8C36F96D6D}" dt="2025-04-25T15:54:34.493" v="26" actId="20577"/>
        <pc:sldMkLst>
          <pc:docMk/>
          <pc:sldMk cId="2802576654" sldId="2134808429"/>
        </pc:sldMkLst>
      </pc:sldChg>
    </pc:docChg>
  </pc:docChgLst>
  <pc:docChgLst>
    <pc:chgData name="Schaffert Philipp" userId="a88e4583-73a0-45e2-8fe2-a5f5f988bdc8" providerId="ADAL" clId="{E07FA927-893C-4538-8D8C-FD59B8807B2E}"/>
    <pc:docChg chg="undo custSel addSld delSld modSld">
      <pc:chgData name="Schaffert Philipp" userId="a88e4583-73a0-45e2-8fe2-a5f5f988bdc8" providerId="ADAL" clId="{E07FA927-893C-4538-8D8C-FD59B8807B2E}" dt="2025-09-16T13:46:29.171" v="713" actId="207"/>
      <pc:docMkLst>
        <pc:docMk/>
      </pc:docMkLst>
      <pc:sldChg chg="modSp mod">
        <pc:chgData name="Schaffert Philipp" userId="a88e4583-73a0-45e2-8fe2-a5f5f988bdc8" providerId="ADAL" clId="{E07FA927-893C-4538-8D8C-FD59B8807B2E}" dt="2025-09-01T15:53:23.920" v="446" actId="20577"/>
        <pc:sldMkLst>
          <pc:docMk/>
          <pc:sldMk cId="3905231771" sldId="532"/>
        </pc:sldMkLst>
        <pc:spChg chg="mod">
          <ac:chgData name="Schaffert Philipp" userId="a88e4583-73a0-45e2-8fe2-a5f5f988bdc8" providerId="ADAL" clId="{E07FA927-893C-4538-8D8C-FD59B8807B2E}" dt="2025-09-01T15:53:23.920" v="446" actId="20577"/>
          <ac:spMkLst>
            <pc:docMk/>
            <pc:sldMk cId="3905231771" sldId="532"/>
            <ac:spMk id="5" creationId="{0C04DC23-09E7-DBEA-D353-833A64645C59}"/>
          </ac:spMkLst>
        </pc:spChg>
        <pc:spChg chg="mod">
          <ac:chgData name="Schaffert Philipp" userId="a88e4583-73a0-45e2-8fe2-a5f5f988bdc8" providerId="ADAL" clId="{E07FA927-893C-4538-8D8C-FD59B8807B2E}" dt="2025-09-01T15:40:17.776" v="115" actId="20577"/>
          <ac:spMkLst>
            <pc:docMk/>
            <pc:sldMk cId="3905231771" sldId="532"/>
            <ac:spMk id="11" creationId="{1246060D-EE70-B7B8-F844-ECCD069556BF}"/>
          </ac:spMkLst>
        </pc:spChg>
      </pc:sldChg>
      <pc:sldChg chg="delSp modSp add del mod">
        <pc:chgData name="Schaffert Philipp" userId="a88e4583-73a0-45e2-8fe2-a5f5f988bdc8" providerId="ADAL" clId="{E07FA927-893C-4538-8D8C-FD59B8807B2E}" dt="2025-09-16T13:46:29.171" v="713" actId="207"/>
        <pc:sldMkLst>
          <pc:docMk/>
          <pc:sldMk cId="4128027551" sldId="2134808377"/>
        </pc:sldMkLst>
        <pc:spChg chg="mod">
          <ac:chgData name="Schaffert Philipp" userId="a88e4583-73a0-45e2-8fe2-a5f5f988bdc8" providerId="ADAL" clId="{E07FA927-893C-4538-8D8C-FD59B8807B2E}" dt="2025-09-16T13:45:40.929" v="710" actId="1038"/>
          <ac:spMkLst>
            <pc:docMk/>
            <pc:sldMk cId="4128027551" sldId="2134808377"/>
            <ac:spMk id="2" creationId="{959D8DF8-2CEA-DB20-2C7C-F23713910FA3}"/>
          </ac:spMkLst>
        </pc:spChg>
        <pc:spChg chg="mod">
          <ac:chgData name="Schaffert Philipp" userId="a88e4583-73a0-45e2-8fe2-a5f5f988bdc8" providerId="ADAL" clId="{E07FA927-893C-4538-8D8C-FD59B8807B2E}" dt="2025-09-16T13:45:22.126" v="685" actId="20577"/>
          <ac:spMkLst>
            <pc:docMk/>
            <pc:sldMk cId="4128027551" sldId="2134808377"/>
            <ac:spMk id="4" creationId="{90EB4F2E-8737-80F5-06C4-76AD3F8435BB}"/>
          </ac:spMkLst>
        </pc:spChg>
        <pc:spChg chg="mod">
          <ac:chgData name="Schaffert Philipp" userId="a88e4583-73a0-45e2-8fe2-a5f5f988bdc8" providerId="ADAL" clId="{E07FA927-893C-4538-8D8C-FD59B8807B2E}" dt="2025-09-16T13:41:39.204" v="589" actId="1037"/>
          <ac:spMkLst>
            <pc:docMk/>
            <pc:sldMk cId="4128027551" sldId="2134808377"/>
            <ac:spMk id="17" creationId="{7BC5C5CD-5030-1A96-37C0-272FA0BE2AD1}"/>
          </ac:spMkLst>
        </pc:spChg>
        <pc:spChg chg="del">
          <ac:chgData name="Schaffert Philipp" userId="a88e4583-73a0-45e2-8fe2-a5f5f988bdc8" providerId="ADAL" clId="{E07FA927-893C-4538-8D8C-FD59B8807B2E}" dt="2025-09-16T13:39:54.990" v="519" actId="478"/>
          <ac:spMkLst>
            <pc:docMk/>
            <pc:sldMk cId="4128027551" sldId="2134808377"/>
            <ac:spMk id="18" creationId="{CEF4C3E7-CC70-174D-821B-C7246B371290}"/>
          </ac:spMkLst>
        </pc:spChg>
        <pc:spChg chg="mod">
          <ac:chgData name="Schaffert Philipp" userId="a88e4583-73a0-45e2-8fe2-a5f5f988bdc8" providerId="ADAL" clId="{E07FA927-893C-4538-8D8C-FD59B8807B2E}" dt="2025-09-16T13:41:54.648" v="612" actId="1037"/>
          <ac:spMkLst>
            <pc:docMk/>
            <pc:sldMk cId="4128027551" sldId="2134808377"/>
            <ac:spMk id="19" creationId="{FE5EBC72-4E06-A620-CC24-7789F1CE39ED}"/>
          </ac:spMkLst>
        </pc:spChg>
        <pc:spChg chg="mod">
          <ac:chgData name="Schaffert Philipp" userId="a88e4583-73a0-45e2-8fe2-a5f5f988bdc8" providerId="ADAL" clId="{E07FA927-893C-4538-8D8C-FD59B8807B2E}" dt="2025-09-16T13:41:54.648" v="612" actId="1037"/>
          <ac:spMkLst>
            <pc:docMk/>
            <pc:sldMk cId="4128027551" sldId="2134808377"/>
            <ac:spMk id="20" creationId="{93DFD402-045E-5B70-7964-704874F8C98D}"/>
          </ac:spMkLst>
        </pc:spChg>
        <pc:spChg chg="mod">
          <ac:chgData name="Schaffert Philipp" userId="a88e4583-73a0-45e2-8fe2-a5f5f988bdc8" providerId="ADAL" clId="{E07FA927-893C-4538-8D8C-FD59B8807B2E}" dt="2025-09-16T13:41:54.648" v="612" actId="1037"/>
          <ac:spMkLst>
            <pc:docMk/>
            <pc:sldMk cId="4128027551" sldId="2134808377"/>
            <ac:spMk id="24" creationId="{F4B4DAC6-579F-F32D-C33C-58040F5B84E2}"/>
          </ac:spMkLst>
        </pc:spChg>
        <pc:spChg chg="mod">
          <ac:chgData name="Schaffert Philipp" userId="a88e4583-73a0-45e2-8fe2-a5f5f988bdc8" providerId="ADAL" clId="{E07FA927-893C-4538-8D8C-FD59B8807B2E}" dt="2025-09-16T13:41:54.648" v="612" actId="1037"/>
          <ac:spMkLst>
            <pc:docMk/>
            <pc:sldMk cId="4128027551" sldId="2134808377"/>
            <ac:spMk id="26" creationId="{FFA2C288-70EC-72F5-C750-FC79B1A75054}"/>
          </ac:spMkLst>
        </pc:spChg>
        <pc:graphicFrameChg chg="modGraphic">
          <ac:chgData name="Schaffert Philipp" userId="a88e4583-73a0-45e2-8fe2-a5f5f988bdc8" providerId="ADAL" clId="{E07FA927-893C-4538-8D8C-FD59B8807B2E}" dt="2025-09-16T13:46:29.171" v="713" actId="207"/>
          <ac:graphicFrameMkLst>
            <pc:docMk/>
            <pc:sldMk cId="4128027551" sldId="2134808377"/>
            <ac:graphicFrameMk id="14" creationId="{BBA7088D-B226-05EE-5AE1-E733A6F57C23}"/>
          </ac:graphicFrameMkLst>
        </pc:graphicFrameChg>
      </pc:sldChg>
      <pc:sldChg chg="addSp delSp modSp add mod">
        <pc:chgData name="Schaffert Philipp" userId="a88e4583-73a0-45e2-8fe2-a5f5f988bdc8" providerId="ADAL" clId="{E07FA927-893C-4538-8D8C-FD59B8807B2E}" dt="2025-09-01T15:51:33.584" v="438" actId="1038"/>
        <pc:sldMkLst>
          <pc:docMk/>
          <pc:sldMk cId="2237547831" sldId="2134808408"/>
        </pc:sldMkLst>
        <pc:spChg chg="add mod">
          <ac:chgData name="Schaffert Philipp" userId="a88e4583-73a0-45e2-8fe2-a5f5f988bdc8" providerId="ADAL" clId="{E07FA927-893C-4538-8D8C-FD59B8807B2E}" dt="2025-09-01T15:49:56.516" v="298"/>
          <ac:spMkLst>
            <pc:docMk/>
            <pc:sldMk cId="2237547831" sldId="2134808408"/>
            <ac:spMk id="9" creationId="{2730BC9E-F878-662E-A628-65AD62C55466}"/>
          </ac:spMkLst>
        </pc:spChg>
        <pc:picChg chg="mod">
          <ac:chgData name="Schaffert Philipp" userId="a88e4583-73a0-45e2-8fe2-a5f5f988bdc8" providerId="ADAL" clId="{E07FA927-893C-4538-8D8C-FD59B8807B2E}" dt="2025-09-01T15:51:33.584" v="438" actId="1038"/>
          <ac:picMkLst>
            <pc:docMk/>
            <pc:sldMk cId="2237547831" sldId="2134808408"/>
            <ac:picMk id="8" creationId="{C3616B76-58DD-29A5-CC2D-12817527A24C}"/>
          </ac:picMkLst>
        </pc:picChg>
      </pc:sldChg>
      <pc:sldChg chg="mod modShow">
        <pc:chgData name="Schaffert Philipp" userId="a88e4583-73a0-45e2-8fe2-a5f5f988bdc8" providerId="ADAL" clId="{E07FA927-893C-4538-8D8C-FD59B8807B2E}" dt="2025-09-01T15:42:07.836" v="117" actId="729"/>
        <pc:sldMkLst>
          <pc:docMk/>
          <pc:sldMk cId="2333825256" sldId="2134808437"/>
        </pc:sldMkLst>
      </pc:sldChg>
      <pc:sldChg chg="modSp mod">
        <pc:chgData name="Schaffert Philipp" userId="a88e4583-73a0-45e2-8fe2-a5f5f988bdc8" providerId="ADAL" clId="{E07FA927-893C-4538-8D8C-FD59B8807B2E}" dt="2025-09-01T15:42:59.824" v="138" actId="1035"/>
        <pc:sldMkLst>
          <pc:docMk/>
          <pc:sldMk cId="3120524741" sldId="2134808465"/>
        </pc:sldMkLst>
        <pc:spChg chg="mod">
          <ac:chgData name="Schaffert Philipp" userId="a88e4583-73a0-45e2-8fe2-a5f5f988bdc8" providerId="ADAL" clId="{E07FA927-893C-4538-8D8C-FD59B8807B2E}" dt="2025-09-01T15:42:55.900" v="125" actId="1036"/>
          <ac:spMkLst>
            <pc:docMk/>
            <pc:sldMk cId="3120524741" sldId="2134808465"/>
            <ac:spMk id="4" creationId="{96079435-3C57-66B9-0461-E7B6D62DE989}"/>
          </ac:spMkLst>
        </pc:spChg>
        <pc:spChg chg="mod">
          <ac:chgData name="Schaffert Philipp" userId="a88e4583-73a0-45e2-8fe2-a5f5f988bdc8" providerId="ADAL" clId="{E07FA927-893C-4538-8D8C-FD59B8807B2E}" dt="2025-09-01T15:42:59.824" v="138" actId="1035"/>
          <ac:spMkLst>
            <pc:docMk/>
            <pc:sldMk cId="3120524741" sldId="2134808465"/>
            <ac:spMk id="5" creationId="{A9847959-9D48-9B93-5E8C-950A505B8CA2}"/>
          </ac:spMkLst>
        </pc:spChg>
      </pc:sldChg>
      <pc:sldChg chg="del">
        <pc:chgData name="Schaffert Philipp" userId="a88e4583-73a0-45e2-8fe2-a5f5f988bdc8" providerId="ADAL" clId="{E07FA927-893C-4538-8D8C-FD59B8807B2E}" dt="2025-09-01T15:49:59.595" v="299" actId="47"/>
        <pc:sldMkLst>
          <pc:docMk/>
          <pc:sldMk cId="2056865994" sldId="2134808466"/>
        </pc:sldMkLst>
      </pc:sldChg>
    </pc:docChg>
  </pc:docChgLst>
  <pc:docChgLst>
    <pc:chgData name="Schaffert Philipp" userId="a88e4583-73a0-45e2-8fe2-a5f5f988bdc8" providerId="ADAL" clId="{72908512-1BFB-402E-A152-950277740344}"/>
    <pc:docChg chg="custSel addSld delSld modSld">
      <pc:chgData name="Schaffert Philipp" userId="a88e4583-73a0-45e2-8fe2-a5f5f988bdc8" providerId="ADAL" clId="{72908512-1BFB-402E-A152-950277740344}" dt="2025-05-20T15:21:26.755" v="43" actId="1036"/>
      <pc:docMkLst>
        <pc:docMk/>
      </pc:docMkLst>
      <pc:sldChg chg="modSp mod">
        <pc:chgData name="Schaffert Philipp" userId="a88e4583-73a0-45e2-8fe2-a5f5f988bdc8" providerId="ADAL" clId="{72908512-1BFB-402E-A152-950277740344}" dt="2025-05-20T08:20:03.115" v="26" actId="20577"/>
        <pc:sldMkLst>
          <pc:docMk/>
          <pc:sldMk cId="3905231771" sldId="532"/>
        </pc:sldMkLst>
      </pc:sldChg>
      <pc:sldChg chg="modSp add del mod modShow">
        <pc:chgData name="Schaffert Philipp" userId="a88e4583-73a0-45e2-8fe2-a5f5f988bdc8" providerId="ADAL" clId="{72908512-1BFB-402E-A152-950277740344}" dt="2025-05-20T15:21:26.755" v="43" actId="1036"/>
        <pc:sldMkLst>
          <pc:docMk/>
          <pc:sldMk cId="2237547831" sldId="2134808408"/>
        </pc:sldMkLst>
      </pc:sldChg>
      <pc:sldChg chg="addSp delSp modSp mod">
        <pc:chgData name="Schaffert Philipp" userId="a88e4583-73a0-45e2-8fe2-a5f5f988bdc8" providerId="ADAL" clId="{72908512-1BFB-402E-A152-950277740344}" dt="2025-05-20T15:20:45.188" v="30" actId="478"/>
        <pc:sldMkLst>
          <pc:docMk/>
          <pc:sldMk cId="2065399251" sldId="213480844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BC8D5B3-5D05-44FE-9539-97CAF417B3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FF6DCE-602F-4FA4-A2AD-B14D2A98E9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046A3-4902-4EC9-95D7-A3EDABBB9CA3}" type="datetimeFigureOut">
              <a:rPr lang="de-DE" smtClean="0"/>
              <a:t>24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ADBCEA-6581-46DF-AB13-E4EC45AFB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7A7C86-2A85-4165-819B-9DE8FC8549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1F8CC-7071-40CE-8835-ECFAFB1E83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34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97160" y="8856984"/>
            <a:ext cx="2971800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21288" y="8856984"/>
            <a:ext cx="739552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1FB20EB5-88DF-4EA6-8586-32EED35EC0E5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5C2C10B-0819-4C9E-AC5E-FBB29FBE4A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9424" y="755576"/>
            <a:ext cx="1412776" cy="251108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97152" y="8856984"/>
            <a:ext cx="1152128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31A75A65-F437-4B55-8084-F9CC046EDB3A}" type="datetimeFigureOut">
              <a:rPr lang="de-DE" smtClean="0"/>
              <a:t>24.09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747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b="1" kern="1200">
        <a:solidFill>
          <a:schemeClr val="tx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8945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90822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Vorstellung Vertriebspartner, Kontaktdaten im Chat einblenden</a:t>
            </a:r>
          </a:p>
          <a:p>
            <a:endParaRPr lang="de-DE" b="0" dirty="0"/>
          </a:p>
          <a:p>
            <a:r>
              <a:rPr lang="de-DE" b="0" dirty="0"/>
              <a:t>Zu Folie 11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83225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617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err="1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NetCom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 BW: vollintegrierter Telekommunikationsanbieter von 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 Medium" panose="020B0604020101020102" pitchFamily="34" charset="0"/>
              </a:rPr>
              <a:t>Highspeed-Glasfaserinfrastruktur 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mit großer Kompetenz im Betrieb 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 Medium" panose="020B0604020101020102" pitchFamily="34" charset="0"/>
              </a:rPr>
              <a:t>kritischer Infrastrukturen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.</a:t>
            </a:r>
            <a:endParaRPr lang="de-DE" sz="900" b="0">
              <a:solidFill>
                <a:schemeClr val="accent5"/>
              </a:solidFill>
              <a:latin typeface="+mn-lt"/>
              <a:ea typeface="DIN-Regular" panose="020B0500010101010101" pitchFamily="34" charset="0"/>
              <a:cs typeface="EnBW DIN Pro" panose="020B0504020101020102" pitchFamily="34" charset="0"/>
            </a:endParaRP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0080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/>
              <a:t>LWL-Hausanschluss </a:t>
            </a:r>
            <a:r>
              <a:rPr lang="de-DE" b="0" dirty="0" err="1"/>
              <a:t>NetCom</a:t>
            </a:r>
            <a:r>
              <a:rPr lang="de-DE" b="0" dirty="0"/>
              <a:t> BW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58841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b="0" dirty="0" err="1"/>
              <a:t>ComHome</a:t>
            </a:r>
            <a:r>
              <a:rPr lang="de-DE" b="0" baseline="0" dirty="0"/>
              <a:t> </a:t>
            </a:r>
            <a:r>
              <a:rPr lang="de-DE" b="0" baseline="0" dirty="0" err="1"/>
              <a:t>basic</a:t>
            </a:r>
            <a:r>
              <a:rPr lang="de-DE" b="0" baseline="0" dirty="0"/>
              <a:t> 16.000 – 300.000</a:t>
            </a: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4588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5864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18794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30052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78621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0" u="none" strike="noStrike" kern="1200" baseline="0" err="1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FRITZ!Box</a:t>
            </a:r>
            <a:r>
              <a:rPr lang="de-DE" sz="1200" b="1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 7590 - Technische Daten</a:t>
            </a:r>
          </a:p>
          <a:p>
            <a:endParaRPr lang="de-DE" sz="1200" b="1" i="0" u="none" strike="noStrike" kern="1200" baseline="0">
              <a:solidFill>
                <a:schemeClr val="tx1"/>
              </a:solidFill>
              <a:effectLst/>
              <a:latin typeface="EnBW DIN Pro" panose="020B0504020101020102" pitchFamily="34" charset="0"/>
              <a:ea typeface="+mn-ea"/>
              <a:cs typeface="EnBW DIN Pro" panose="020B0504020101020102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Alle DSL-Anschlüsse mit bis zu 300 MBit/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IP-basiertes, analoges oder ISDN-Festnet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4 x Gigabit-Ethern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1 x Gigabit-WAN für den Anschluss an Kabel-/DSL-/Glasfasermodem oder Netzwe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4 x 4 WLAN AC + N mit Multi-User MIM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WLAN AC mit bis zu 1.733 MBit/s (5 GHz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WLAN N mit bis zu 800 MBit/s (2,4 GHz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2 x USB 3.0 für Speicher und Druck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DECT-Basisstation für bis zu 6 Handgerä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ISDN-S₀-Bus für ISDN-Telefone oder ISDN-Telefonanl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2 x a/b-Port für analoge Telefone, Anrufbeantworter und Fax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595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6F9CE72-000E-76F2-AA2A-4EAA6D04ED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62946" y="1251518"/>
            <a:ext cx="9829055" cy="5606482"/>
          </a:xfrm>
          <a:custGeom>
            <a:avLst/>
            <a:gdLst>
              <a:gd name="connsiteX0" fmla="*/ 6234914 w 9829055"/>
              <a:gd name="connsiteY0" fmla="*/ 0 h 5606482"/>
              <a:gd name="connsiteX1" fmla="*/ 7313533 w 9829055"/>
              <a:gd name="connsiteY1" fmla="*/ 446982 h 5606482"/>
              <a:gd name="connsiteX2" fmla="*/ 8972024 w 9829055"/>
              <a:gd name="connsiteY2" fmla="*/ 2105473 h 5606482"/>
              <a:gd name="connsiteX3" fmla="*/ 9829054 w 9829055"/>
              <a:gd name="connsiteY3" fmla="*/ 2962503 h 5606482"/>
              <a:gd name="connsiteX4" fmla="*/ 9829054 w 9829055"/>
              <a:gd name="connsiteY4" fmla="*/ 3192777 h 5606482"/>
              <a:gd name="connsiteX5" fmla="*/ 9829055 w 9829055"/>
              <a:gd name="connsiteY5" fmla="*/ 3192778 h 5606482"/>
              <a:gd name="connsiteX6" fmla="*/ 9829055 w 9829055"/>
              <a:gd name="connsiteY6" fmla="*/ 5606482 h 5606482"/>
              <a:gd name="connsiteX7" fmla="*/ 9061647 w 9829055"/>
              <a:gd name="connsiteY7" fmla="*/ 5606482 h 5606482"/>
              <a:gd name="connsiteX8" fmla="*/ 8648248 w 9829055"/>
              <a:gd name="connsiteY8" fmla="*/ 5606482 h 5606482"/>
              <a:gd name="connsiteX9" fmla="*/ 4170361 w 9829055"/>
              <a:gd name="connsiteY9" fmla="*/ 5606482 h 5606482"/>
              <a:gd name="connsiteX10" fmla="*/ 3805063 w 9829055"/>
              <a:gd name="connsiteY10" fmla="*/ 5606482 h 5606482"/>
              <a:gd name="connsiteX11" fmla="*/ 575850 w 9829055"/>
              <a:gd name="connsiteY11" fmla="*/ 5606482 h 5606482"/>
              <a:gd name="connsiteX12" fmla="*/ 575851 w 9829055"/>
              <a:gd name="connsiteY12" fmla="*/ 5606481 h 5606482"/>
              <a:gd name="connsiteX13" fmla="*/ 0 w 9829055"/>
              <a:gd name="connsiteY13" fmla="*/ 5606481 h 5606482"/>
              <a:gd name="connsiteX14" fmla="*/ 404665 w 9829055"/>
              <a:gd name="connsiteY14" fmla="*/ 5201817 h 5606482"/>
              <a:gd name="connsiteX15" fmla="*/ 401460 w 9829055"/>
              <a:gd name="connsiteY15" fmla="*/ 5201817 h 5606482"/>
              <a:gd name="connsiteX16" fmla="*/ 5156628 w 9829055"/>
              <a:gd name="connsiteY16" fmla="*/ 446648 h 5606482"/>
              <a:gd name="connsiteX17" fmla="*/ 6234914 w 9829055"/>
              <a:gd name="connsiteY17" fmla="*/ 0 h 560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829055" h="5606482">
                <a:moveTo>
                  <a:pt x="6234914" y="0"/>
                </a:moveTo>
                <a:cubicBezTo>
                  <a:pt x="6642230" y="0"/>
                  <a:pt x="7025546" y="158661"/>
                  <a:pt x="7313533" y="446982"/>
                </a:cubicBezTo>
                <a:lnTo>
                  <a:pt x="8972024" y="2105473"/>
                </a:lnTo>
                <a:lnTo>
                  <a:pt x="9829054" y="2962503"/>
                </a:lnTo>
                <a:lnTo>
                  <a:pt x="9829054" y="3192777"/>
                </a:lnTo>
                <a:lnTo>
                  <a:pt x="9829055" y="3192778"/>
                </a:lnTo>
                <a:lnTo>
                  <a:pt x="9829055" y="5606482"/>
                </a:lnTo>
                <a:lnTo>
                  <a:pt x="9061647" y="5606482"/>
                </a:lnTo>
                <a:lnTo>
                  <a:pt x="8648248" y="5606482"/>
                </a:lnTo>
                <a:lnTo>
                  <a:pt x="4170361" y="5606482"/>
                </a:lnTo>
                <a:lnTo>
                  <a:pt x="3805063" y="5606482"/>
                </a:lnTo>
                <a:lnTo>
                  <a:pt x="575850" y="5606482"/>
                </a:lnTo>
                <a:lnTo>
                  <a:pt x="575851" y="5606481"/>
                </a:lnTo>
                <a:lnTo>
                  <a:pt x="0" y="5606481"/>
                </a:lnTo>
                <a:lnTo>
                  <a:pt x="404665" y="5201817"/>
                </a:lnTo>
                <a:lnTo>
                  <a:pt x="401460" y="5201817"/>
                </a:lnTo>
                <a:lnTo>
                  <a:pt x="5156628" y="446648"/>
                </a:lnTo>
                <a:cubicBezTo>
                  <a:pt x="5444614" y="158661"/>
                  <a:pt x="5827599" y="0"/>
                  <a:pt x="6234914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088772"/>
            <a:ext cx="5975350" cy="1656334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28169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7EA83E9-B2E8-37E9-9452-72A9D22BD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BAB260E-5D20-B5CA-B078-792CF29803A8}"/>
              </a:ext>
            </a:extLst>
          </p:cNvPr>
          <p:cNvSpPr/>
          <p:nvPr userDrawn="1"/>
        </p:nvSpPr>
        <p:spPr>
          <a:xfrm rot="16200000">
            <a:off x="-738228" y="4435312"/>
            <a:ext cx="3160916" cy="1684460"/>
          </a:xfrm>
          <a:custGeom>
            <a:avLst/>
            <a:gdLst>
              <a:gd name="connsiteX0" fmla="*/ 3160916 w 3160916"/>
              <a:gd name="connsiteY0" fmla="*/ 0 h 1684460"/>
              <a:gd name="connsiteX1" fmla="*/ 1552469 w 3160916"/>
              <a:gd name="connsiteY1" fmla="*/ 1608447 h 1684460"/>
              <a:gd name="connsiteX2" fmla="*/ 1368743 w 3160916"/>
              <a:gd name="connsiteY2" fmla="*/ 1684460 h 1684460"/>
              <a:gd name="connsiteX3" fmla="*/ 1368401 w 3160916"/>
              <a:gd name="connsiteY3" fmla="*/ 1684119 h 1684460"/>
              <a:gd name="connsiteX4" fmla="*/ 1184677 w 3160916"/>
              <a:gd name="connsiteY4" fmla="*/ 1608106 h 1684460"/>
              <a:gd name="connsiteX5" fmla="*/ 0 w 3160916"/>
              <a:gd name="connsiteY5" fmla="*/ 423428 h 1684460"/>
              <a:gd name="connsiteX6" fmla="*/ 0 w 3160916"/>
              <a:gd name="connsiteY6" fmla="*/ 0 h 1684460"/>
              <a:gd name="connsiteX7" fmla="*/ 188760 w 3160916"/>
              <a:gd name="connsiteY7" fmla="*/ 0 h 1684460"/>
              <a:gd name="connsiteX8" fmla="*/ 1368402 w 3160916"/>
              <a:gd name="connsiteY8" fmla="*/ 1179642 h 1684460"/>
              <a:gd name="connsiteX9" fmla="*/ 2548045 w 3160916"/>
              <a:gd name="connsiteY9" fmla="*/ 0 h 1684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0916" h="1684460">
                <a:moveTo>
                  <a:pt x="3160916" y="0"/>
                </a:moveTo>
                <a:lnTo>
                  <a:pt x="1552469" y="1608447"/>
                </a:lnTo>
                <a:cubicBezTo>
                  <a:pt x="1501679" y="1659235"/>
                  <a:pt x="1435212" y="1684460"/>
                  <a:pt x="1368743" y="1684460"/>
                </a:cubicBezTo>
                <a:lnTo>
                  <a:pt x="1368401" y="1684119"/>
                </a:lnTo>
                <a:cubicBezTo>
                  <a:pt x="1301933" y="1684119"/>
                  <a:pt x="1235465" y="1658895"/>
                  <a:pt x="1184677" y="1608106"/>
                </a:cubicBezTo>
                <a:lnTo>
                  <a:pt x="0" y="423428"/>
                </a:lnTo>
                <a:lnTo>
                  <a:pt x="0" y="0"/>
                </a:lnTo>
                <a:lnTo>
                  <a:pt x="188760" y="0"/>
                </a:lnTo>
                <a:lnTo>
                  <a:pt x="1368402" y="1179642"/>
                </a:lnTo>
                <a:lnTo>
                  <a:pt x="2548045" y="0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334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rechts Zu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C906616-F44C-2953-8FCF-7D32AD1B06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22959" y="2614736"/>
            <a:ext cx="8469042" cy="4243264"/>
          </a:xfrm>
          <a:custGeom>
            <a:avLst/>
            <a:gdLst>
              <a:gd name="connsiteX0" fmla="*/ 4874901 w 8469042"/>
              <a:gd name="connsiteY0" fmla="*/ 0 h 4243264"/>
              <a:gd name="connsiteX1" fmla="*/ 5953520 w 8469042"/>
              <a:gd name="connsiteY1" fmla="*/ 446982 h 4243264"/>
              <a:gd name="connsiteX2" fmla="*/ 7612011 w 8469042"/>
              <a:gd name="connsiteY2" fmla="*/ 2105473 h 4243264"/>
              <a:gd name="connsiteX3" fmla="*/ 8469041 w 8469042"/>
              <a:gd name="connsiteY3" fmla="*/ 2962503 h 4243264"/>
              <a:gd name="connsiteX4" fmla="*/ 8469041 w 8469042"/>
              <a:gd name="connsiteY4" fmla="*/ 3192777 h 4243264"/>
              <a:gd name="connsiteX5" fmla="*/ 8469042 w 8469042"/>
              <a:gd name="connsiteY5" fmla="*/ 3192778 h 4243264"/>
              <a:gd name="connsiteX6" fmla="*/ 8469042 w 8469042"/>
              <a:gd name="connsiteY6" fmla="*/ 4243264 h 4243264"/>
              <a:gd name="connsiteX7" fmla="*/ 0 w 8469042"/>
              <a:gd name="connsiteY7" fmla="*/ 4243264 h 4243264"/>
              <a:gd name="connsiteX8" fmla="*/ 3796615 w 8469042"/>
              <a:gd name="connsiteY8" fmla="*/ 446648 h 4243264"/>
              <a:gd name="connsiteX9" fmla="*/ 4874901 w 8469042"/>
              <a:gd name="connsiteY9" fmla="*/ 0 h 4243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69042" h="4243264">
                <a:moveTo>
                  <a:pt x="4874901" y="0"/>
                </a:moveTo>
                <a:cubicBezTo>
                  <a:pt x="5282217" y="0"/>
                  <a:pt x="5665533" y="158661"/>
                  <a:pt x="5953520" y="446982"/>
                </a:cubicBezTo>
                <a:lnTo>
                  <a:pt x="7612011" y="2105473"/>
                </a:lnTo>
                <a:lnTo>
                  <a:pt x="8469041" y="2962503"/>
                </a:lnTo>
                <a:lnTo>
                  <a:pt x="8469041" y="3192777"/>
                </a:lnTo>
                <a:lnTo>
                  <a:pt x="8469042" y="3192778"/>
                </a:lnTo>
                <a:lnTo>
                  <a:pt x="8469042" y="4243264"/>
                </a:lnTo>
                <a:lnTo>
                  <a:pt x="0" y="4243264"/>
                </a:lnTo>
                <a:lnTo>
                  <a:pt x="3796615" y="446648"/>
                </a:lnTo>
                <a:cubicBezTo>
                  <a:pt x="4084601" y="158661"/>
                  <a:pt x="4467587" y="0"/>
                  <a:pt x="4874901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8797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8467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2851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2533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36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55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DA3FCF58-F8B7-0633-2038-5AE1A48A4AFE}"/>
              </a:ext>
            </a:extLst>
          </p:cNvPr>
          <p:cNvSpPr/>
          <p:nvPr userDrawn="1"/>
        </p:nvSpPr>
        <p:spPr>
          <a:xfrm flipV="1">
            <a:off x="4004735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6A892B12-274A-F782-3830-80F6B9F1CC46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77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A051152-F29D-F781-2D8F-B1B9E6393C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331804" cy="6319154"/>
          </a:xfrm>
          <a:custGeom>
            <a:avLst/>
            <a:gdLst>
              <a:gd name="connsiteX0" fmla="*/ 0 w 4331804"/>
              <a:gd name="connsiteY0" fmla="*/ 0 h 6319154"/>
              <a:gd name="connsiteX1" fmla="*/ 8848 w 4331804"/>
              <a:gd name="connsiteY1" fmla="*/ 0 h 6319154"/>
              <a:gd name="connsiteX2" fmla="*/ 1487488 w 4331804"/>
              <a:gd name="connsiteY2" fmla="*/ 0 h 6319154"/>
              <a:gd name="connsiteX3" fmla="*/ 3604025 w 4331804"/>
              <a:gd name="connsiteY3" fmla="*/ 0 h 6319154"/>
              <a:gd name="connsiteX4" fmla="*/ 3884822 w 4331804"/>
              <a:gd name="connsiteY4" fmla="*/ 280797 h 6319154"/>
              <a:gd name="connsiteX5" fmla="*/ 4331804 w 4331804"/>
              <a:gd name="connsiteY5" fmla="*/ 1359418 h 6319154"/>
              <a:gd name="connsiteX6" fmla="*/ 3885156 w 4331804"/>
              <a:gd name="connsiteY6" fmla="*/ 2437705 h 6319154"/>
              <a:gd name="connsiteX7" fmla="*/ 860398 w 4331804"/>
              <a:gd name="connsiteY7" fmla="*/ 5462463 h 6319154"/>
              <a:gd name="connsiteX8" fmla="*/ 856691 w 4331804"/>
              <a:gd name="connsiteY8" fmla="*/ 5462463 h 6319154"/>
              <a:gd name="connsiteX9" fmla="*/ 0 w 4331804"/>
              <a:gd name="connsiteY9" fmla="*/ 6319154 h 6319154"/>
              <a:gd name="connsiteX10" fmla="*/ 0 w 4331804"/>
              <a:gd name="connsiteY10" fmla="*/ 3392996 h 6319154"/>
              <a:gd name="connsiteX11" fmla="*/ 0 w 4331804"/>
              <a:gd name="connsiteY11" fmla="*/ 2728349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331804" h="6319154">
                <a:moveTo>
                  <a:pt x="0" y="0"/>
                </a:moveTo>
                <a:lnTo>
                  <a:pt x="8848" y="0"/>
                </a:lnTo>
                <a:lnTo>
                  <a:pt x="1487488" y="0"/>
                </a:lnTo>
                <a:lnTo>
                  <a:pt x="3604025" y="0"/>
                </a:lnTo>
                <a:lnTo>
                  <a:pt x="3884822" y="280797"/>
                </a:lnTo>
                <a:cubicBezTo>
                  <a:pt x="4173144" y="568786"/>
                  <a:pt x="4331804" y="952102"/>
                  <a:pt x="4331804" y="1359418"/>
                </a:cubicBezTo>
                <a:cubicBezTo>
                  <a:pt x="4331804" y="1766733"/>
                  <a:pt x="4173144" y="2149717"/>
                  <a:pt x="3885156" y="2437705"/>
                </a:cubicBezTo>
                <a:lnTo>
                  <a:pt x="860398" y="5462463"/>
                </a:lnTo>
                <a:lnTo>
                  <a:pt x="856691" y="5462463"/>
                </a:lnTo>
                <a:lnTo>
                  <a:pt x="0" y="6319154"/>
                </a:lnTo>
                <a:lnTo>
                  <a:pt x="0" y="3392996"/>
                </a:lnTo>
                <a:lnTo>
                  <a:pt x="0" y="272834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50E21-EDA7-B8A4-DE27-DBB333A98901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3AEA1D7-58F1-7DF3-8DD6-D1230A346F93}"/>
              </a:ext>
            </a:extLst>
          </p:cNvPr>
          <p:cNvSpPr/>
          <p:nvPr userDrawn="1"/>
        </p:nvSpPr>
        <p:spPr>
          <a:xfrm>
            <a:off x="0" y="852210"/>
            <a:ext cx="4555449" cy="6005791"/>
          </a:xfrm>
          <a:custGeom>
            <a:avLst/>
            <a:gdLst>
              <a:gd name="connsiteX0" fmla="*/ 0 w 4555449"/>
              <a:gd name="connsiteY0" fmla="*/ 0 h 6005791"/>
              <a:gd name="connsiteX1" fmla="*/ 4481203 w 4555449"/>
              <a:gd name="connsiteY1" fmla="*/ 4481204 h 6005791"/>
              <a:gd name="connsiteX2" fmla="*/ 4481203 w 4555449"/>
              <a:gd name="connsiteY2" fmla="*/ 4840522 h 6005791"/>
              <a:gd name="connsiteX3" fmla="*/ 3315934 w 4555449"/>
              <a:gd name="connsiteY3" fmla="*/ 6005791 h 6005791"/>
              <a:gd name="connsiteX4" fmla="*/ 2717293 w 4555449"/>
              <a:gd name="connsiteY4" fmla="*/ 6005791 h 6005791"/>
              <a:gd name="connsiteX5" fmla="*/ 4062553 w 4555449"/>
              <a:gd name="connsiteY5" fmla="*/ 4660530 h 6005791"/>
              <a:gd name="connsiteX6" fmla="*/ 0 w 4555449"/>
              <a:gd name="connsiteY6" fmla="*/ 597975 h 600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5449" h="6005791">
                <a:moveTo>
                  <a:pt x="0" y="0"/>
                </a:moveTo>
                <a:lnTo>
                  <a:pt x="4481203" y="4481204"/>
                </a:lnTo>
                <a:cubicBezTo>
                  <a:pt x="4580198" y="4580200"/>
                  <a:pt x="4580198" y="4741526"/>
                  <a:pt x="4481203" y="4840522"/>
                </a:cubicBezTo>
                <a:lnTo>
                  <a:pt x="3315934" y="6005791"/>
                </a:lnTo>
                <a:lnTo>
                  <a:pt x="2717293" y="6005791"/>
                </a:lnTo>
                <a:lnTo>
                  <a:pt x="4062553" y="4660530"/>
                </a:lnTo>
                <a:lnTo>
                  <a:pt x="0" y="597975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727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4C025702-5674-BD89-5E9E-8C773B7CF1D4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5D5B455-069D-E64D-8068-368BDBD57ACB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9FA06FD-0F7F-DBF9-09F4-3AB80F2275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831B8548-75EF-F606-196A-78FB9CA596D9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100104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4403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ereit fürs Glasfaserland? | Oktober 2023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286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A9F91588-2B36-A559-FF46-B27AE0C9A7D5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6D16D87-13C6-B738-D5A2-0FF713DFDE8F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anchor="b" anchorCtr="0"/>
          <a:lstStyle>
            <a:lvl1pPr>
              <a:defRPr sz="9600">
                <a:solidFill>
                  <a:schemeClr val="bg1"/>
                </a:solidFill>
              </a:defRPr>
            </a:lvl1pPr>
          </a:lstStyle>
          <a:p>
            <a:r>
              <a:rPr lang="de-DE"/>
              <a:t>Vielen Dank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6F3802-CED9-9F76-7325-76DFCCF287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C6921161-00D5-3EE7-CA54-871E10466326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356306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3437200E-6A14-CD69-B069-4975CCB7E99F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FC05AFE-6032-026F-6E6E-FEA7AFD8A476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9600" dirty="0">
                <a:solidFill>
                  <a:srgbClr val="322A26"/>
                </a:solidFill>
              </a:defRPr>
            </a:lvl1pPr>
          </a:lstStyle>
          <a:p>
            <a:pPr lvl="0"/>
            <a:r>
              <a:rPr lang="de-DE"/>
              <a:t>Vielen Dank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B79B655-0C7A-80BA-7810-21DE44783CC0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FB7A18F-3F6B-D5EF-06A3-95FEE2932A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64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72487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189" y="1700215"/>
            <a:ext cx="9443168" cy="276999"/>
          </a:xfrm>
        </p:spPr>
        <p:txBody>
          <a:bodyPr wrap="square"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1953" indent="-161953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193" y="645857"/>
            <a:ext cx="9443167" cy="328295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NetCom BW Vertrieb ·  Stand: 03/2021</a:t>
            </a:r>
          </a:p>
        </p:txBody>
      </p:sp>
    </p:spTree>
    <p:extLst>
      <p:ext uri="{BB962C8B-B14F-4D97-AF65-F5344CB8AC3E}">
        <p14:creationId xmlns:p14="http://schemas.microsoft.com/office/powerpoint/2010/main" val="165441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16834FA-F71D-7893-A385-2EFCA82EED8F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B2E9C2C-C70B-5703-AD2A-A269D80441B3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6000" dirty="0">
                <a:solidFill>
                  <a:srgbClr val="322A26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rgbClr val="322A26"/>
                </a:solidFill>
              </a:defRPr>
            </a:lvl1pPr>
          </a:lstStyle>
          <a:p>
            <a:pPr lvl="0"/>
            <a:r>
              <a:rPr lang="de-DE"/>
              <a:t>Referent | Datum, Or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73B8FBF-E700-4CCC-EC0E-2A789BF01B5E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5F89C61-2668-B61F-93C3-DACDA3B89C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68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0A8A0F6-121C-99E3-C6D4-49EA97848329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FB99CEF-E734-4EAF-6A14-9E54EC72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158EBF3A-AC09-E4F8-9811-B7D9A84BA0DB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E6DCE44F-B7DE-09D6-2AE1-F51BF5F61437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93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27E5CC45-781C-FC6F-EB51-F71B50CDB6A3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379DAA2-2265-E29C-E9C6-2A8148B09F1A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C7C01E-893A-7C06-3C83-CAE7BCC43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3F533E25-CA77-0A63-9B67-F1B068BD50F0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36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EC308276-889B-9898-A365-84340E0A8D66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F5CC28BB-C65D-3DA4-E056-5B5CB63BD949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anchor="t" anchorCtr="0"/>
          <a:lstStyle>
            <a:lvl1pPr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wrap="none" anchor="t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7849715-44FE-A8BC-DA9D-FA9D2A10BE2C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8D295BE-A361-617D-89B1-1BCCE50A1E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58FBC1E-216D-F15B-B55B-676B996A0716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72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5831124-7FE8-5C31-E3CF-C3640C6B9BE3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de-DE" sz="23900" dirty="0">
                <a:solidFill>
                  <a:schemeClr val="tx1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/>
              <a:t>X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ADBC0D63-17C3-210F-4FA9-01063F4152A7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FB43CA-63B3-3D74-3CF8-F62FAF85B96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3A4EC8-569E-275B-1EA3-30EF3624EE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BB8E9A7-59B5-8DB2-6351-3B6D467A9F17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396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044113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73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3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20D257-8A9B-EDBE-C35A-557C83464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000336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425" imgH="424" progId="TCLayout.ActiveDocument.1">
                  <p:embed/>
                </p:oleObj>
              </mc:Choice>
              <mc:Fallback>
                <p:oleObj name="think-cell Folie" r:id="rId27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0D257-8A9B-EDBE-C35A-557C83464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044113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Bereit fürs Glasfaserland? | Oktober 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22" name="Grafik 121">
            <a:extLst>
              <a:ext uri="{FF2B5EF4-FFF2-40B4-BE49-F238E27FC236}">
                <a16:creationId xmlns:a16="http://schemas.microsoft.com/office/drawing/2014/main" id="{6814D405-5A85-E5BD-560F-1D66360E6CF3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039349" y="368300"/>
            <a:ext cx="1744663" cy="32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02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38" r:id="rId2"/>
    <p:sldLayoutId id="2147483740" r:id="rId3"/>
    <p:sldLayoutId id="2147483718" r:id="rId4"/>
    <p:sldLayoutId id="2147483747" r:id="rId5"/>
    <p:sldLayoutId id="2147483720" r:id="rId6"/>
    <p:sldLayoutId id="2147483741" r:id="rId7"/>
    <p:sldLayoutId id="2147483722" r:id="rId8"/>
    <p:sldLayoutId id="2147483723" r:id="rId9"/>
    <p:sldLayoutId id="2147483724" r:id="rId10"/>
    <p:sldLayoutId id="2147483742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43" r:id="rId17"/>
    <p:sldLayoutId id="2147483745" r:id="rId18"/>
    <p:sldLayoutId id="2147483746" r:id="rId19"/>
    <p:sldLayoutId id="2147483731" r:id="rId20"/>
    <p:sldLayoutId id="2147483732" r:id="rId21"/>
    <p:sldLayoutId id="2147483733" r:id="rId22"/>
    <p:sldLayoutId id="2147483734" r:id="rId23"/>
    <p:sldLayoutId id="2147483748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32" userDrawn="1">
          <p15:clr>
            <a:srgbClr val="F26B43"/>
          </p15:clr>
        </p15:guide>
        <p15:guide id="15" pos="6584" userDrawn="1">
          <p15:clr>
            <a:srgbClr val="F26B43"/>
          </p15:clr>
        </p15:guide>
        <p15:guide id="16" orient="horz" pos="436" userDrawn="1">
          <p15:clr>
            <a:srgbClr val="F26B43"/>
          </p15:clr>
        </p15:guide>
        <p15:guide id="17" orient="horz" pos="40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hyperlink" Target="http://www.netcom-bw.de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waipu.tv/" TargetMode="External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1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7.svg"/><Relationship Id="rId11" Type="http://schemas.openxmlformats.org/officeDocument/2006/relationships/image" Target="../media/image20.png"/><Relationship Id="rId5" Type="http://schemas.openxmlformats.org/officeDocument/2006/relationships/image" Target="../media/image36.png"/><Relationship Id="rId10" Type="http://schemas.openxmlformats.org/officeDocument/2006/relationships/image" Target="../media/image40.svg"/><Relationship Id="rId4" Type="http://schemas.openxmlformats.org/officeDocument/2006/relationships/image" Target="../media/image35.svg"/><Relationship Id="rId9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3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5.xml"/><Relationship Id="rId7" Type="http://schemas.microsoft.com/office/2007/relationships/hdphoto" Target="../media/hdphoto1.wdp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Relationship Id="rId9" Type="http://schemas.openxmlformats.org/officeDocument/2006/relationships/image" Target="../media/image3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152D6BE-C3CC-FEB7-4659-3FE9DF828F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1260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52D6BE-C3CC-FEB7-4659-3FE9DF828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C04DC23-09E7-DBEA-D353-833A64645C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073014"/>
            <a:ext cx="11630132" cy="2501962"/>
          </a:xfrm>
        </p:spPr>
        <p:txBody>
          <a:bodyPr vert="horz"/>
          <a:lstStyle/>
          <a:p>
            <a:r>
              <a:rPr lang="de-DE" dirty="0"/>
              <a:t>Infoveranstaltung</a:t>
            </a:r>
            <a:br>
              <a:rPr lang="de-DE" dirty="0"/>
            </a:br>
            <a:r>
              <a:rPr lang="de-DE" dirty="0"/>
              <a:t>Glasfaser für Schechinge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1246060D-EE70-B7B8-F844-ECCD06955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9" y="5849682"/>
            <a:ext cx="5400674" cy="288000"/>
          </a:xfrm>
        </p:spPr>
        <p:txBody>
          <a:bodyPr/>
          <a:lstStyle/>
          <a:p>
            <a:r>
              <a:rPr lang="de-DE" dirty="0"/>
              <a:t>NetCom BW</a:t>
            </a:r>
            <a:br>
              <a:rPr lang="de-DE" dirty="0"/>
            </a:br>
            <a:r>
              <a:rPr lang="de-DE" dirty="0"/>
              <a:t>September 2025</a:t>
            </a:r>
          </a:p>
        </p:txBody>
      </p:sp>
    </p:spTree>
    <p:extLst>
      <p:ext uri="{BB962C8B-B14F-4D97-AF65-F5344CB8AC3E}">
        <p14:creationId xmlns:p14="http://schemas.microsoft.com/office/powerpoint/2010/main" val="390523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682869-555F-162E-0833-056D61813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Angebote für Privatkun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135A39-F95C-AC88-B7CE-D2E30439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0</a:t>
            </a:fld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1BAFD66A-8585-B29D-C91E-98515001A6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4461889"/>
              </p:ext>
            </p:extLst>
          </p:nvPr>
        </p:nvGraphicFramePr>
        <p:xfrm>
          <a:off x="408006" y="1065315"/>
          <a:ext cx="9659272" cy="363984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675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3694">
                  <a:extLst>
                    <a:ext uri="{9D8B030D-6E8A-4147-A177-3AD203B41FA5}">
                      <a16:colId xmlns:a16="http://schemas.microsoft.com/office/drawing/2014/main" val="1614753956"/>
                    </a:ext>
                  </a:extLst>
                </a:gridCol>
                <a:gridCol w="1129506">
                  <a:extLst>
                    <a:ext uri="{9D8B030D-6E8A-4147-A177-3AD203B41FA5}">
                      <a16:colId xmlns:a16="http://schemas.microsoft.com/office/drawing/2014/main" val="4144029935"/>
                    </a:ext>
                  </a:extLst>
                </a:gridCol>
                <a:gridCol w="11295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95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95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378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GLASFASER.home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de-DE" sz="1800" b="0" kern="1200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>
                          <a:solidFill>
                            <a:schemeClr val="tx2"/>
                          </a:solidFill>
                          <a:latin typeface="+mn-lt"/>
                        </a:rPr>
                        <a:t>3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>
                          <a:solidFill>
                            <a:schemeClr val="tx2"/>
                          </a:solidFill>
                          <a:latin typeface="+mn-lt"/>
                        </a:rPr>
                        <a:t>5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>
                          <a:solidFill>
                            <a:schemeClr val="tx2"/>
                          </a:solidFill>
                          <a:latin typeface="+mn-lt"/>
                        </a:rPr>
                        <a:t>10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655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wn-/Upload in Mbit/s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00/2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300/6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500/10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.000/25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599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is monatlich für </a:t>
                      </a:r>
                      <a:r>
                        <a:rPr lang="de-DE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eukunden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und </a:t>
                      </a:r>
                      <a:r>
                        <a:rPr lang="de-DE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Bestandskunden bei DSL-Wechsel zu Glasfaser 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 der gesamten Erstvertragslaufzeit m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 Jahren Preisgarantie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2"/>
                          </a:solidFill>
                        </a:rPr>
                        <a:t>34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2"/>
                          </a:solidFill>
                        </a:rPr>
                        <a:t>3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2"/>
                          </a:solidFill>
                        </a:rPr>
                        <a:t>4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tx2"/>
                          </a:solidFill>
                        </a:rPr>
                        <a:t>6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0545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Preis monatlich nach 2 Jahren Erstvertragslaufzeit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44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4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7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9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959174"/>
                  </a:ext>
                </a:extLst>
              </a:tr>
            </a:tbl>
          </a:graphicData>
        </a:graphic>
      </p:graphicFrame>
      <p:sp>
        <p:nvSpPr>
          <p:cNvPr id="15" name="Inhaltsplatzhalter 9">
            <a:extLst>
              <a:ext uri="{FF2B5EF4-FFF2-40B4-BE49-F238E27FC236}">
                <a16:creationId xmlns:a16="http://schemas.microsoft.com/office/drawing/2014/main" id="{72548073-2063-C763-F0D2-51A0128F6649}"/>
              </a:ext>
            </a:extLst>
          </p:cNvPr>
          <p:cNvSpPr txBox="1">
            <a:spLocks/>
          </p:cNvSpPr>
          <p:nvPr/>
        </p:nvSpPr>
        <p:spPr>
          <a:xfrm>
            <a:off x="408000" y="5589240"/>
            <a:ext cx="2880000" cy="684560"/>
          </a:xfrm>
          <a:prstGeom prst="rect">
            <a:avLst/>
          </a:prstGeom>
        </p:spPr>
        <p:txBody>
          <a:bodyPr lIns="43200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800" dirty="0">
                <a:latin typeface="+mj-lt"/>
              </a:rPr>
              <a:t>FTTB – Tarife</a:t>
            </a:r>
            <a:br>
              <a:rPr lang="de-DE" sz="1200" dirty="0"/>
            </a:br>
            <a:r>
              <a:rPr lang="de-DE" sz="1400" dirty="0"/>
              <a:t>Anbindung des Gebäudes</a:t>
            </a:r>
            <a:br>
              <a:rPr lang="de-DE" sz="1400" dirty="0"/>
            </a:br>
            <a:r>
              <a:rPr lang="de-DE" sz="1400" dirty="0"/>
              <a:t>über Glasfaser</a:t>
            </a:r>
          </a:p>
        </p:txBody>
      </p:sp>
      <p:sp>
        <p:nvSpPr>
          <p:cNvPr id="16" name="Inhaltsplatzhalter 9">
            <a:extLst>
              <a:ext uri="{FF2B5EF4-FFF2-40B4-BE49-F238E27FC236}">
                <a16:creationId xmlns:a16="http://schemas.microsoft.com/office/drawing/2014/main" id="{B3A62F20-6056-B7E6-EBF1-546CE8DE0A71}"/>
              </a:ext>
            </a:extLst>
          </p:cNvPr>
          <p:cNvSpPr txBox="1">
            <a:spLocks/>
          </p:cNvSpPr>
          <p:nvPr/>
        </p:nvSpPr>
        <p:spPr>
          <a:xfrm>
            <a:off x="3873796" y="5589240"/>
            <a:ext cx="2880000" cy="684560"/>
          </a:xfrm>
          <a:prstGeom prst="rect">
            <a:avLst/>
          </a:prstGeom>
        </p:spPr>
        <p:txBody>
          <a:bodyPr lIns="43200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800" dirty="0">
                <a:latin typeface="+mj-lt"/>
              </a:rPr>
              <a:t>Internetflatrate</a:t>
            </a:r>
            <a:br>
              <a:rPr lang="de-DE" sz="1800" dirty="0"/>
            </a:br>
            <a:r>
              <a:rPr lang="de-DE" sz="1400" dirty="0"/>
              <a:t>ohne Zeit- und Volumenbegrenzung</a:t>
            </a:r>
          </a:p>
        </p:txBody>
      </p:sp>
      <p:sp>
        <p:nvSpPr>
          <p:cNvPr id="17" name="Inhaltsplatzhalter 9">
            <a:extLst>
              <a:ext uri="{FF2B5EF4-FFF2-40B4-BE49-F238E27FC236}">
                <a16:creationId xmlns:a16="http://schemas.microsoft.com/office/drawing/2014/main" id="{7D71A19E-21E4-C874-6A70-84F4B0C3A57B}"/>
              </a:ext>
            </a:extLst>
          </p:cNvPr>
          <p:cNvSpPr txBox="1">
            <a:spLocks/>
          </p:cNvSpPr>
          <p:nvPr/>
        </p:nvSpPr>
        <p:spPr>
          <a:xfrm>
            <a:off x="7544923" y="5589240"/>
            <a:ext cx="2880000" cy="684560"/>
          </a:xfrm>
          <a:prstGeom prst="rect">
            <a:avLst/>
          </a:prstGeom>
        </p:spPr>
        <p:txBody>
          <a:bodyPr lIns="43200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800" dirty="0">
                <a:latin typeface="+mj-lt"/>
              </a:rPr>
              <a:t>Telefonanschluss</a:t>
            </a:r>
            <a:br>
              <a:rPr lang="de-DE" sz="1200" dirty="0"/>
            </a:br>
            <a:r>
              <a:rPr lang="de-DE" sz="1400" dirty="0"/>
              <a:t>mit zwei Rufnummern inkl. Flatrate ins deutsche Festnetz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48D7052-2EB6-4CBF-0054-8CE494490821}"/>
              </a:ext>
            </a:extLst>
          </p:cNvPr>
          <p:cNvCxnSpPr/>
          <p:nvPr/>
        </p:nvCxnSpPr>
        <p:spPr>
          <a:xfrm>
            <a:off x="3580898" y="5589240"/>
            <a:ext cx="0" cy="6845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9257B5F6-D58A-5A5A-31C5-10ADC22595ED}"/>
              </a:ext>
            </a:extLst>
          </p:cNvPr>
          <p:cNvCxnSpPr/>
          <p:nvPr/>
        </p:nvCxnSpPr>
        <p:spPr>
          <a:xfrm>
            <a:off x="7248000" y="5589240"/>
            <a:ext cx="0" cy="6845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EFCCAB4F-D6B1-044A-2592-6B144E7745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000" y="5557515"/>
            <a:ext cx="304800" cy="28575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1296FBD-A6CF-6B7F-E57F-10331E4E5F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73796" y="5571597"/>
            <a:ext cx="304800" cy="28575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A82ADD60-2705-BAEA-DD33-9F903A7F16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44923" y="5585679"/>
            <a:ext cx="30480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41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9FE24F1-02AA-144D-979F-B296AE0BCD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FE24F1-02AA-144D-979F-B296AE0BC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7BC5C5CD-5030-1A96-37C0-272FA0BE2AD1}"/>
              </a:ext>
            </a:extLst>
          </p:cNvPr>
          <p:cNvSpPr/>
          <p:nvPr/>
        </p:nvSpPr>
        <p:spPr>
          <a:xfrm>
            <a:off x="6667696" y="1774513"/>
            <a:ext cx="2052000" cy="4390487"/>
          </a:xfrm>
          <a:prstGeom prst="rect">
            <a:avLst/>
          </a:prstGeom>
          <a:noFill/>
          <a:ln w="127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0EB4F2E-8737-80F5-06C4-76AD3F843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 vert="horz"/>
          <a:lstStyle/>
          <a:p>
            <a:r>
              <a:rPr lang="de-DE" dirty="0">
                <a:solidFill>
                  <a:schemeClr val="tx2"/>
                </a:solidFill>
              </a:rPr>
              <a:t>Finden Sie den idealen Tarif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im Rahmen unserer einmaligen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Sonderak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FA84CB2-D5CC-6139-D7F8-7CF2F2915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96053A21-04F0-9108-5681-7D01C598BAAA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07988" y="1844675"/>
            <a:ext cx="4584700" cy="331788"/>
          </a:xfrm>
        </p:spPr>
        <p:txBody>
          <a:bodyPr/>
          <a:lstStyle/>
          <a:p>
            <a:r>
              <a:rPr lang="de-DE" dirty="0" err="1"/>
              <a:t>GLASFASER.home</a:t>
            </a:r>
            <a:endParaRPr lang="de-DE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E5EBC72-4E06-A620-CC24-7789F1CE39ED}"/>
              </a:ext>
            </a:extLst>
          </p:cNvPr>
          <p:cNvSpPr/>
          <p:nvPr/>
        </p:nvSpPr>
        <p:spPr bwMode="auto">
          <a:xfrm>
            <a:off x="4672344" y="2488513"/>
            <a:ext cx="1800000" cy="44263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133">
              <a:buClr>
                <a:srgbClr val="FF9900"/>
              </a:buClr>
              <a:buSzPct val="140000"/>
              <a:defRPr/>
            </a:pPr>
            <a:r>
              <a:rPr lang="de-DE" sz="3200" dirty="0">
                <a:solidFill>
                  <a:schemeClr val="tx2"/>
                </a:solidFill>
                <a:latin typeface="+mj-lt"/>
                <a:ea typeface="DIN-Regular" panose="020B0500010101010101" pitchFamily="34" charset="0"/>
                <a:cs typeface="EnBW DIN Pro Medium" panose="020B0604020101020102" pitchFamily="34" charset="0"/>
              </a:rPr>
              <a:t>500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3DFD402-045E-5B70-7964-704874F8C98D}"/>
              </a:ext>
            </a:extLst>
          </p:cNvPr>
          <p:cNvSpPr/>
          <p:nvPr/>
        </p:nvSpPr>
        <p:spPr bwMode="auto">
          <a:xfrm>
            <a:off x="6832444" y="2488513"/>
            <a:ext cx="1800000" cy="44263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133">
              <a:buClr>
                <a:srgbClr val="FF9900"/>
              </a:buClr>
              <a:buSzPct val="140000"/>
              <a:defRPr/>
            </a:pPr>
            <a:r>
              <a:rPr lang="de-DE" sz="3200" dirty="0">
                <a:solidFill>
                  <a:schemeClr val="tx2"/>
                </a:solidFill>
                <a:latin typeface="+mj-lt"/>
                <a:ea typeface="DIN-Regular" panose="020B0500010101010101" pitchFamily="34" charset="0"/>
                <a:cs typeface="EnBW DIN Pro Medium" panose="020B0604020101020102" pitchFamily="34" charset="0"/>
              </a:rPr>
              <a:t>1.000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F4B4DAC6-579F-F32D-C33C-58040F5B84E2}"/>
              </a:ext>
            </a:extLst>
          </p:cNvPr>
          <p:cNvSpPr/>
          <p:nvPr/>
        </p:nvSpPr>
        <p:spPr bwMode="auto">
          <a:xfrm>
            <a:off x="4564344" y="1774513"/>
            <a:ext cx="2016000" cy="612000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600" dirty="0">
                <a:solidFill>
                  <a:schemeClr val="bg1"/>
                </a:solidFill>
                <a:latin typeface="+mj-lt"/>
                <a:cs typeface="EnBW DIN Pro"/>
              </a:rPr>
              <a:t>Bestsell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FA2C288-70EC-72F5-C750-FC79B1A75054}"/>
              </a:ext>
            </a:extLst>
          </p:cNvPr>
          <p:cNvSpPr/>
          <p:nvPr/>
        </p:nvSpPr>
        <p:spPr bwMode="auto">
          <a:xfrm>
            <a:off x="6742338" y="2130115"/>
            <a:ext cx="1800000" cy="25639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algn="ctr" defTabSz="914133">
              <a:buClr>
                <a:srgbClr val="FF9900"/>
              </a:buClr>
              <a:buSzPct val="140000"/>
              <a:defRPr/>
            </a:pPr>
            <a:r>
              <a:rPr lang="de-DE" sz="1400" b="1" dirty="0">
                <a:solidFill>
                  <a:schemeClr val="tx2"/>
                </a:solidFill>
                <a:ea typeface="DIN-Regular" panose="020B0500010101010101" pitchFamily="34" charset="0"/>
                <a:cs typeface="EnBW DIN Pro Medium" panose="020B0604020101020102" pitchFamily="34" charset="0"/>
              </a:rPr>
              <a:t>Gigabit-Tarif</a:t>
            </a: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BBA7088D-B226-05EE-5AE1-E733A6F57C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870005"/>
              </p:ext>
            </p:extLst>
          </p:nvPr>
        </p:nvGraphicFramePr>
        <p:xfrm>
          <a:off x="407989" y="2818513"/>
          <a:ext cx="8244000" cy="32047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56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14471571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4287692278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189669372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Anbindung über Glasfaser</a:t>
                      </a: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4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075456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800" b="0" kern="1200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Down-/Upload in Mbit/s</a:t>
                      </a: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en-US" sz="400" b="0" kern="1200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500/100</a:t>
                      </a: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970/250</a:t>
                      </a: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ternetflatrate</a:t>
                      </a:r>
                    </a:p>
                  </a:txBody>
                  <a:tcPr marL="0" marR="0" marT="25200" marB="252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lefonanschluss mit zwei Rufnummern</a:t>
                      </a:r>
                      <a:b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klusive Flatrate ins deutsche Festnetz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aximal 4 Rufnummern wählbar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071915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2"/>
                          </a:solidFill>
                          <a:effectLst/>
                          <a:latin typeface="EnBW DIN Pro Medium" panose="020B0604020101020102" pitchFamily="34" charset="0"/>
                          <a:ea typeface="Times New Roman"/>
                          <a:cs typeface="EnBW DIN Pro Medium" panose="020B0604020101020102" pitchFamily="34" charset="0"/>
                        </a:rPr>
                        <a:t>Highspeed-Preis</a:t>
                      </a:r>
                      <a:r>
                        <a:rPr lang="de-DE" sz="1200" b="0" kern="1200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Times New Roman"/>
                          <a:cs typeface="EnBW DIN Pro Medium" panose="020B0604020101020102" pitchFamily="34" charset="0"/>
                        </a:rPr>
                        <a:t>*</a:t>
                      </a:r>
                      <a:r>
                        <a:rPr lang="de-DE" sz="14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 1. – 12. Monat</a:t>
                      </a: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dirty="0">
                          <a:solidFill>
                            <a:schemeClr val="tx2"/>
                          </a:solidFill>
                          <a:latin typeface="EnBW DIN Pro Medium" panose="020B0604020101020102" pitchFamily="34" charset="0"/>
                          <a:cs typeface="EnBW DIN Pro Medium" panose="020B0604020101020102" pitchFamily="34" charset="0"/>
                        </a:rPr>
                        <a:t>39,90 €</a:t>
                      </a: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 dirty="0">
                        <a:solidFill>
                          <a:schemeClr val="tx1"/>
                        </a:solidFill>
                        <a:latin typeface="EnBW DIN Pro Medium" panose="020B0604020101020102" pitchFamily="34" charset="0"/>
                        <a:cs typeface="EnBW DIN Pro Medium" panose="020B0604020101020102" pitchFamily="34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dirty="0">
                          <a:solidFill>
                            <a:schemeClr val="tx2"/>
                          </a:solidFill>
                          <a:latin typeface="EnBW DIN Pro Medium" panose="020B0604020101020102" pitchFamily="34" charset="0"/>
                          <a:cs typeface="EnBW DIN Pro Medium" panose="020B0604020101020102" pitchFamily="34" charset="0"/>
                        </a:rPr>
                        <a:t>39,90 €</a:t>
                      </a: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238388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2"/>
                          </a:solidFill>
                          <a:effectLst/>
                          <a:latin typeface="EnBW DIN Pro Medium" panose="020B0604020101020102" pitchFamily="34" charset="0"/>
                          <a:ea typeface="Times New Roman"/>
                          <a:cs typeface="EnBW DIN Pro Medium" panose="020B0604020101020102" pitchFamily="34" charset="0"/>
                        </a:rPr>
                        <a:t>Aktionspreis</a:t>
                      </a:r>
                      <a:r>
                        <a:rPr lang="de-DE" sz="14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 13.-24. Monat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2"/>
                          </a:solidFill>
                          <a:latin typeface="+mn-lt"/>
                        </a:rPr>
                        <a:t>49,90 €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2"/>
                          </a:solidFill>
                          <a:latin typeface="+mn-lt"/>
                        </a:rPr>
                        <a:t>69,90 €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1118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Einmaliges</a:t>
                      </a:r>
                      <a:r>
                        <a:rPr lang="de-DE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 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Einrichtungsentgelt: </a:t>
                      </a: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897047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Bei einer Vertragslaufzeit von 24 Monaten 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49,00 €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49,00 €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41050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Bei einer Vertragslaufzeit von 12 Monaten 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129,00 €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129,00 €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472870"/>
                  </a:ext>
                </a:extLst>
              </a:tr>
            </a:tbl>
          </a:graphicData>
        </a:graphic>
      </p:graphicFrame>
      <p:sp>
        <p:nvSpPr>
          <p:cNvPr id="2" name="Ellipse 1">
            <a:extLst>
              <a:ext uri="{FF2B5EF4-FFF2-40B4-BE49-F238E27FC236}">
                <a16:creationId xmlns:a16="http://schemas.microsoft.com/office/drawing/2014/main" id="{959D8DF8-2CEA-DB20-2C7C-F23713910FA3}"/>
              </a:ext>
            </a:extLst>
          </p:cNvPr>
          <p:cNvSpPr/>
          <p:nvPr/>
        </p:nvSpPr>
        <p:spPr bwMode="gray">
          <a:xfrm>
            <a:off x="6163412" y="549000"/>
            <a:ext cx="1539231" cy="1539231"/>
          </a:xfrm>
          <a:prstGeom prst="ellipse">
            <a:avLst/>
          </a:prstGeom>
          <a:solidFill>
            <a:srgbClr val="5BE3D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ts val="600"/>
              </a:spcAft>
            </a:pPr>
            <a:r>
              <a:rPr lang="de-DE" sz="1400" dirty="0">
                <a:solidFill>
                  <a:schemeClr val="tx2"/>
                </a:solidFill>
                <a:cs typeface="EnBW DIN Pro Medium" panose="020B0604020101020102" pitchFamily="34" charset="0"/>
              </a:rPr>
              <a:t>Neukunden-</a:t>
            </a:r>
            <a:br>
              <a:rPr lang="de-DE" sz="1400" dirty="0">
                <a:solidFill>
                  <a:schemeClr val="tx2"/>
                </a:solidFill>
                <a:cs typeface="EnBW DIN Pro Medium" panose="020B0604020101020102" pitchFamily="34" charset="0"/>
              </a:rPr>
            </a:br>
            <a:r>
              <a:rPr lang="de-DE" sz="1400" dirty="0">
                <a:solidFill>
                  <a:schemeClr val="tx2"/>
                </a:solidFill>
                <a:cs typeface="EnBW DIN Pro Medium" panose="020B0604020101020102" pitchFamily="34" charset="0"/>
              </a:rPr>
              <a:t>Aktion</a:t>
            </a:r>
            <a:br>
              <a:rPr lang="de-DE" sz="1400" dirty="0">
                <a:solidFill>
                  <a:schemeClr val="tx2"/>
                </a:solidFill>
                <a:cs typeface="EnBW DIN Pro Medium" panose="020B0604020101020102" pitchFamily="34" charset="0"/>
              </a:rPr>
            </a:br>
            <a:r>
              <a:rPr lang="de-DE" sz="1400" dirty="0">
                <a:solidFill>
                  <a:schemeClr val="tx2"/>
                </a:solidFill>
                <a:cs typeface="EnBW DIN Pro Medium" panose="020B0604020101020102" pitchFamily="34" charset="0"/>
              </a:rPr>
              <a:t>nur bis</a:t>
            </a:r>
            <a:br>
              <a:rPr lang="de-DE" sz="1400" dirty="0">
                <a:solidFill>
                  <a:schemeClr val="tx2"/>
                </a:solidFill>
                <a:cs typeface="EnBW DIN Pro Medium" panose="020B0604020101020102" pitchFamily="34" charset="0"/>
              </a:rPr>
            </a:br>
            <a:r>
              <a:rPr lang="de-DE" sz="1400" dirty="0">
                <a:solidFill>
                  <a:schemeClr val="tx2"/>
                </a:solidFill>
                <a:cs typeface="EnBW DIN Pro Medium" panose="020B0604020101020102" pitchFamily="34" charset="0"/>
              </a:rPr>
              <a:t>31.12.2025</a:t>
            </a:r>
            <a:endParaRPr lang="de-DE" sz="1400" dirty="0">
              <a:solidFill>
                <a:schemeClr val="tx2"/>
              </a:solidFill>
              <a:latin typeface="EnBW DIN Pro Medium" panose="020B0604020101020102" pitchFamily="34" charset="0"/>
              <a:cs typeface="EnBW DIN Pro Medium" panose="020B0604020101020102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1E0F954-566B-43DB-E832-91B38DA27B63}"/>
              </a:ext>
            </a:extLst>
          </p:cNvPr>
          <p:cNvSpPr txBox="1"/>
          <p:nvPr/>
        </p:nvSpPr>
        <p:spPr bwMode="gray">
          <a:xfrm>
            <a:off x="408000" y="6093000"/>
            <a:ext cx="11376000" cy="369333"/>
          </a:xfrm>
          <a:prstGeom prst="rect">
            <a:avLst/>
          </a:prstGeom>
          <a:noFill/>
        </p:spPr>
        <p:txBody>
          <a:bodyPr wrap="square" lIns="0" tIns="36000" rIns="0" bIns="0" anchor="b" anchorCtr="0">
            <a:noAutofit/>
          </a:bodyPr>
          <a:lstStyle/>
          <a:p>
            <a:pPr>
              <a:tabLst>
                <a:tab pos="107950" algn="l"/>
              </a:tabLst>
            </a:pPr>
            <a:r>
              <a:rPr lang="de-DE" sz="1000" baseline="30000" dirty="0">
                <a:latin typeface="EnBWDINPro"/>
              </a:rPr>
              <a:t>*</a:t>
            </a:r>
            <a:r>
              <a:rPr lang="de-DE" sz="1000" dirty="0">
                <a:latin typeface="EnBWDINPro"/>
              </a:rPr>
              <a:t> Sonderaktion gilt in ausgewählten Gebieten der NetCom BW für Neukunden bis 31.12.2025. Bei Beauftragung des Produkts mit 24 Monaten Vertragslaufzeit. 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71F7DCFE-22AA-F700-9FEA-99354079C1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7" y="6543420"/>
            <a:ext cx="10044113" cy="143869"/>
          </a:xfrm>
        </p:spPr>
        <p:txBody>
          <a:bodyPr/>
          <a:lstStyle/>
          <a:p>
            <a:r>
              <a:rPr lang="de-DE" dirty="0"/>
              <a:t>Bereit fürs Glasfaserland? | Januar 2025</a:t>
            </a:r>
          </a:p>
        </p:txBody>
      </p:sp>
    </p:spTree>
    <p:extLst>
      <p:ext uri="{BB962C8B-B14F-4D97-AF65-F5344CB8AC3E}">
        <p14:creationId xmlns:p14="http://schemas.microsoft.com/office/powerpoint/2010/main" val="412802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B63B09-7FCA-3A2B-1C59-6598AB741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Angebote für Privatkunden: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weitere Optio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27901-2572-A566-BE91-2C157A91F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2</a:t>
            </a:fld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BB6D05FC-AE19-2833-2A03-77A563993F01}"/>
              </a:ext>
            </a:extLst>
          </p:cNvPr>
          <p:cNvGraphicFramePr>
            <a:graphicFrameLocks noGrp="1"/>
          </p:cNvGraphicFramePr>
          <p:nvPr/>
        </p:nvGraphicFramePr>
        <p:xfrm>
          <a:off x="408000" y="1826227"/>
          <a:ext cx="6696000" cy="25207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7080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99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1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38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de-DE" sz="1800" b="0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or-Ort-Installationsservice</a:t>
                      </a:r>
                      <a:r>
                        <a:rPr lang="de-DE" sz="1400" b="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endParaRPr lang="de-DE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einmalig ab</a:t>
                      </a:r>
                    </a:p>
                    <a:p>
                      <a:pPr algn="ctr"/>
                      <a:r>
                        <a:rPr lang="de-DE" sz="3600" b="0" dirty="0">
                          <a:solidFill>
                            <a:schemeClr val="tx2"/>
                          </a:solidFill>
                          <a:latin typeface="+mj-lt"/>
                        </a:rPr>
                        <a:t>69,00</a:t>
                      </a:r>
                      <a:r>
                        <a:rPr lang="de-DE" sz="2600" b="0" dirty="0">
                          <a:solidFill>
                            <a:schemeClr val="tx2"/>
                          </a:solidFill>
                          <a:latin typeface="+mj-lt"/>
                        </a:rPr>
                        <a:t> </a:t>
                      </a:r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€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ine zusätzliche dynamische IPv4-Adresse</a:t>
                      </a:r>
                      <a:b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ur standardmäßig vorhandenen dynamischen IPv6-WAN-Adresse mit /56 Präfix (Dual Stack)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endParaRPr lang="de-DE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natlich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2,50</a:t>
                      </a:r>
                      <a:r>
                        <a:rPr kumimoji="0" lang="de-DE" sz="2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5890D756-177C-9F1A-E1D0-371BD2F6F994}"/>
              </a:ext>
            </a:extLst>
          </p:cNvPr>
          <p:cNvSpPr txBox="1">
            <a:spLocks/>
          </p:cNvSpPr>
          <p:nvPr/>
        </p:nvSpPr>
        <p:spPr bwMode="auto">
          <a:xfrm>
            <a:off x="8148448" y="2835750"/>
            <a:ext cx="2232247" cy="2872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r>
              <a:rPr lang="de-DE" sz="1800" b="0" kern="0" dirty="0">
                <a:solidFill>
                  <a:schemeClr val="tx1"/>
                </a:solidFill>
                <a:latin typeface="+mj-lt"/>
              </a:rPr>
              <a:t>Mindestlaufzeit</a:t>
            </a:r>
            <a:br>
              <a:rPr lang="de-DE" sz="1800" b="0" kern="0" dirty="0">
                <a:solidFill>
                  <a:schemeClr val="tx1"/>
                </a:solidFill>
                <a:latin typeface="+mj-lt"/>
              </a:rPr>
            </a:br>
            <a:r>
              <a:rPr lang="de-DE" sz="1400" b="0" kern="0" dirty="0">
                <a:solidFill>
                  <a:schemeClr val="tx1"/>
                </a:solidFill>
              </a:rPr>
              <a:t>6 Monate, automatische</a:t>
            </a:r>
            <a:br>
              <a:rPr lang="de-DE" sz="1400" b="0" kern="0" dirty="0">
                <a:solidFill>
                  <a:schemeClr val="tx1"/>
                </a:solidFill>
              </a:rPr>
            </a:br>
            <a:r>
              <a:rPr lang="de-DE" sz="1400" b="0" kern="0" dirty="0">
                <a:solidFill>
                  <a:schemeClr val="tx1"/>
                </a:solidFill>
              </a:rPr>
              <a:t>Verlängerung um</a:t>
            </a:r>
            <a:br>
              <a:rPr lang="de-DE" sz="1400" b="0" kern="0" dirty="0">
                <a:solidFill>
                  <a:schemeClr val="tx1"/>
                </a:solidFill>
              </a:rPr>
            </a:br>
            <a:r>
              <a:rPr lang="de-DE" sz="1400" b="0" kern="0" dirty="0">
                <a:solidFill>
                  <a:schemeClr val="tx1"/>
                </a:solidFill>
              </a:rPr>
              <a:t>jeweils 1 Monat</a:t>
            </a: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200" b="0" kern="0" dirty="0">
              <a:solidFill>
                <a:schemeClr val="tx1"/>
              </a:solidFill>
            </a:endParaRP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200" b="0" kern="0" dirty="0">
              <a:solidFill>
                <a:schemeClr val="tx1"/>
              </a:solidFill>
            </a:endParaRP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200" b="0" kern="0" dirty="0">
              <a:solidFill>
                <a:schemeClr val="tx1"/>
              </a:solidFill>
            </a:endParaRP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r>
              <a:rPr lang="de-DE" sz="1800" b="0" kern="0" dirty="0">
                <a:solidFill>
                  <a:schemeClr val="tx1"/>
                </a:solidFill>
                <a:latin typeface="+mj-lt"/>
              </a:rPr>
              <a:t>Kündigungsfrist</a:t>
            </a:r>
            <a:br>
              <a:rPr lang="de-DE" sz="1800" b="0" kern="0" dirty="0">
                <a:solidFill>
                  <a:schemeClr val="tx1"/>
                </a:solidFill>
              </a:rPr>
            </a:br>
            <a:r>
              <a:rPr lang="de-DE" sz="1400" b="0" kern="0" dirty="0">
                <a:solidFill>
                  <a:schemeClr val="tx1"/>
                </a:solidFill>
              </a:rPr>
              <a:t>4 Wochen zum Laufzeitende</a:t>
            </a: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400" kern="0" dirty="0">
              <a:solidFill>
                <a:schemeClr val="tx1"/>
              </a:solidFill>
            </a:endParaRPr>
          </a:p>
          <a:p>
            <a:pPr marL="0" lvl="2" indent="0" defTabSz="914133">
              <a:spcBef>
                <a:spcPts val="800"/>
              </a:spcBef>
              <a:buNone/>
              <a:defRPr/>
            </a:pPr>
            <a:endParaRPr lang="de-DE" kern="0" dirty="0">
              <a:latin typeface="EnBW DIN Pro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359F7C3-A5B0-8437-0612-2FBC324CF9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81547" y="2276872"/>
            <a:ext cx="481455" cy="468785"/>
          </a:xfrm>
          <a:prstGeom prst="rect">
            <a:avLst/>
          </a:prstGeom>
        </p:spPr>
      </p:pic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FF608C2-BC8F-1082-A694-750616688215}"/>
              </a:ext>
            </a:extLst>
          </p:cNvPr>
          <p:cNvCxnSpPr>
            <a:cxnSpLocks/>
          </p:cNvCxnSpPr>
          <p:nvPr/>
        </p:nvCxnSpPr>
        <p:spPr>
          <a:xfrm flipV="1">
            <a:off x="7678890" y="1881188"/>
            <a:ext cx="0" cy="36000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52AB7E93-D3EA-113A-A0F6-8CB8EF9B95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81547" y="4127385"/>
            <a:ext cx="418106" cy="506795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5001280-C774-6B41-ED50-177274B56858}"/>
              </a:ext>
            </a:extLst>
          </p:cNvPr>
          <p:cNvSpPr txBox="1"/>
          <p:nvPr/>
        </p:nvSpPr>
        <p:spPr bwMode="gray">
          <a:xfrm>
            <a:off x="407988" y="6274439"/>
            <a:ext cx="11376000" cy="17902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>
              <a:tabLst>
                <a:tab pos="104775" algn="l"/>
              </a:tabLst>
            </a:pPr>
            <a:r>
              <a:rPr lang="de-DE" sz="1000" baseline="30000" dirty="0">
                <a:cs typeface="EnBW DIN Pro"/>
              </a:rPr>
              <a:t>1	</a:t>
            </a:r>
            <a:r>
              <a:rPr lang="de-DE" sz="1000" kern="1600" dirty="0">
                <a:cs typeface="EnBW DIN Pro"/>
              </a:rPr>
              <a:t>Vor-Ort-Installationsservice kann nur bei Neukauf des Routers der </a:t>
            </a:r>
            <a:r>
              <a:rPr lang="de-DE" sz="1000" kern="1600" dirty="0" err="1">
                <a:cs typeface="EnBW DIN Pro"/>
              </a:rPr>
              <a:t>NetCom</a:t>
            </a:r>
            <a:r>
              <a:rPr lang="de-DE" sz="1000" kern="1600" dirty="0">
                <a:cs typeface="EnBW DIN Pro"/>
              </a:rPr>
              <a:t> BW gebucht </a:t>
            </a:r>
            <a:r>
              <a:rPr lang="de-DE" sz="1000" kern="1600" dirty="0" err="1">
                <a:cs typeface="EnBW DIN Pro"/>
              </a:rPr>
              <a:t>werden.Enthaltene</a:t>
            </a:r>
            <a:r>
              <a:rPr lang="de-DE" sz="1000" kern="1600" dirty="0">
                <a:cs typeface="EnBW DIN Pro"/>
              </a:rPr>
              <a:t> Leistungen siehe Leistungsbeschreibung und unter </a:t>
            </a:r>
            <a:r>
              <a:rPr lang="de-DE" sz="1000" kern="1600" dirty="0">
                <a:cs typeface="EnBW DIN Pro"/>
                <a:hlinkClick r:id="rId7"/>
              </a:rPr>
              <a:t>www.netcom-bw.de</a:t>
            </a:r>
            <a:r>
              <a:rPr lang="de-DE" sz="1000" kern="1600" dirty="0">
                <a:cs typeface="EnBW DIN Pro"/>
              </a:rPr>
              <a:t>. Entgelt:</a:t>
            </a:r>
            <a:br>
              <a:rPr lang="de-DE" sz="1000" kern="1600" dirty="0">
                <a:cs typeface="EnBW DIN Pro"/>
              </a:rPr>
            </a:br>
            <a:r>
              <a:rPr lang="de-DE" sz="1000" kern="1600" dirty="0">
                <a:cs typeface="EnBW DIN Pro"/>
              </a:rPr>
              <a:t>	Beauftragung mit Vertragsabschluss bei Anbindung über Glasfaser: 69,00 €; bei Anbindung über Kupfer: 99,00 €; bei nachträglicher Beauftragung (unabhängig der Anbindungsart): 129,00 €.</a:t>
            </a:r>
          </a:p>
        </p:txBody>
      </p:sp>
    </p:spTree>
    <p:extLst>
      <p:ext uri="{BB962C8B-B14F-4D97-AF65-F5344CB8AC3E}">
        <p14:creationId xmlns:p14="http://schemas.microsoft.com/office/powerpoint/2010/main" val="233382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B63B09-7FCA-3A2B-1C59-6598AB741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Telefonie-Optio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27901-2572-A566-BE91-2C157A91F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914C56-DBD3-048F-2A39-AA64E5765579}"/>
              </a:ext>
            </a:extLst>
          </p:cNvPr>
          <p:cNvSpPr txBox="1"/>
          <p:nvPr/>
        </p:nvSpPr>
        <p:spPr bwMode="gray">
          <a:xfrm>
            <a:off x="407988" y="6274439"/>
            <a:ext cx="11376000" cy="17902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baseline="30000">
                <a:cs typeface="EnBW DIN Pro"/>
              </a:rPr>
              <a:t>1</a:t>
            </a:r>
            <a:r>
              <a:rPr lang="de-DE" sz="1000" spc="10">
                <a:cs typeface="EnBW DIN Pro"/>
              </a:rPr>
              <a:t> enthalten ist die Mobilfunktelefonie in alle deutsche Mobilfunknetze. </a:t>
            </a:r>
            <a:r>
              <a:rPr lang="de-DE" sz="1000" spc="1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│ </a:t>
            </a:r>
            <a:r>
              <a:rPr lang="de-DE" sz="1000" spc="10" baseline="30000">
                <a:cs typeface="EnBW DIN Pro"/>
              </a:rPr>
              <a:t>2</a:t>
            </a:r>
            <a:r>
              <a:rPr lang="de-DE" sz="1000" spc="10">
                <a:cs typeface="EnBW DIN Pro"/>
              </a:rPr>
              <a:t> enthalten ist die Festnetztelefonie in folgende Länder: Belgien, Dänemark, Estland,</a:t>
            </a:r>
            <a:br>
              <a:rPr lang="de-DE" sz="1000" spc="10">
                <a:cs typeface="EnBW DIN Pro"/>
              </a:rPr>
            </a:br>
            <a:r>
              <a:rPr lang="de-DE" sz="1000" spc="10">
                <a:cs typeface="EnBW DIN Pro"/>
              </a:rPr>
              <a:t>Frankreich, Griechenland, Großbritannien, Irland, Italien, Luxemburg, Niederlande, Österreich, Polen, Portugal, Schweden, Schweiz, Spanien, Tschechien und Ungarn.</a:t>
            </a:r>
            <a:br>
              <a:rPr lang="de-DE" sz="1000" spc="10">
                <a:cs typeface="EnBW DIN Pro"/>
              </a:rPr>
            </a:br>
            <a:r>
              <a:rPr lang="de-DE" sz="1000" spc="10" baseline="30000">
                <a:cs typeface="EnBW DIN Pro"/>
              </a:rPr>
              <a:t>3</a:t>
            </a:r>
            <a:r>
              <a:rPr lang="de-DE" sz="1000" spc="10">
                <a:cs typeface="EnBW DIN Pro"/>
              </a:rPr>
              <a:t> Preise für Sprachverbindungen ins deutsche Festnetz, Sonderrufnummern, Mobilfunk und Ausland siehe Verbindungsentgelte unter www.netcom-bw.de.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BB6D05FC-AE19-2833-2A03-77A563993F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079724"/>
              </p:ext>
            </p:extLst>
          </p:nvPr>
        </p:nvGraphicFramePr>
        <p:xfrm>
          <a:off x="390505" y="1826227"/>
          <a:ext cx="6696000" cy="1080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0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Mobilfunk</a:t>
                      </a:r>
                      <a:endParaRPr lang="de-DE" sz="1800" b="0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nutenpaket</a:t>
                      </a:r>
                      <a:r>
                        <a:rPr lang="de-DE" sz="1400" b="0" kern="0" baseline="30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de-DE" sz="1400" b="0">
                        <a:solidFill>
                          <a:schemeClr val="tx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6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12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24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is monatlich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3,3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6,6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  <a:latin typeface="+mn-lt"/>
                        </a:rPr>
                        <a:t>13,2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BAF547FD-2C4E-CA5D-6487-ECF371A68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3883163"/>
              </p:ext>
            </p:extLst>
          </p:nvPr>
        </p:nvGraphicFramePr>
        <p:xfrm>
          <a:off x="390505" y="3167673"/>
          <a:ext cx="6696000" cy="1080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0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Festnetz Europa</a:t>
                      </a: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nutenpaket</a:t>
                      </a:r>
                      <a:r>
                        <a:rPr lang="de-DE" sz="1400" b="0" kern="0" baseline="30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de-DE" sz="1400" b="0">
                        <a:solidFill>
                          <a:schemeClr val="tx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12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24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36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is monatlich</a:t>
                      </a:r>
                      <a:endParaRPr lang="de-DE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1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3,5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  <a:latin typeface="+mn-lt"/>
                        </a:rPr>
                        <a:t>6,2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BCFEE55B-0CF1-DA41-FF1C-CACB15B45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7325010"/>
              </p:ext>
            </p:extLst>
          </p:nvPr>
        </p:nvGraphicFramePr>
        <p:xfrm>
          <a:off x="390505" y="4509120"/>
          <a:ext cx="6768000" cy="1080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0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3. und 4. Rufnummer</a:t>
                      </a: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t Flatrate ins deutsche Festnetz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monatlich      je </a:t>
                      </a:r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4,95 €</a:t>
                      </a:r>
                    </a:p>
                  </a:txBody>
                  <a:tcPr marL="0" marR="93600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hne Flatrate ins deutsche Festnetz</a:t>
                      </a:r>
                      <a:r>
                        <a:rPr lang="de-DE" sz="1400" b="0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einmalig        je </a:t>
                      </a:r>
                      <a:r>
                        <a:rPr lang="de-DE" sz="1400" b="1" dirty="0">
                          <a:solidFill>
                            <a:schemeClr val="tx1"/>
                          </a:solidFill>
                          <a:latin typeface="+mn-lt"/>
                        </a:rPr>
                        <a:t>9,90 €</a:t>
                      </a:r>
                    </a:p>
                  </a:txBody>
                  <a:tcPr marL="0" marR="93600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5890D756-177C-9F1A-E1D0-371BD2F6F994}"/>
              </a:ext>
            </a:extLst>
          </p:cNvPr>
          <p:cNvSpPr txBox="1">
            <a:spLocks/>
          </p:cNvSpPr>
          <p:nvPr/>
        </p:nvSpPr>
        <p:spPr bwMode="auto">
          <a:xfrm>
            <a:off x="8130953" y="2835750"/>
            <a:ext cx="2232247" cy="2872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r>
              <a:rPr lang="de-DE" sz="1800" b="0" kern="0">
                <a:solidFill>
                  <a:schemeClr val="tx1"/>
                </a:solidFill>
                <a:latin typeface="+mj-lt"/>
              </a:rPr>
              <a:t>Mindestlaufzeit</a:t>
            </a:r>
            <a:br>
              <a:rPr lang="de-DE" sz="1800" b="0" kern="0">
                <a:solidFill>
                  <a:schemeClr val="tx1"/>
                </a:solidFill>
                <a:latin typeface="+mj-lt"/>
              </a:rPr>
            </a:br>
            <a:r>
              <a:rPr lang="de-DE" sz="1400" b="0" kern="0">
                <a:solidFill>
                  <a:schemeClr val="tx1"/>
                </a:solidFill>
              </a:rPr>
              <a:t>6 Monate, automatische</a:t>
            </a:r>
            <a:br>
              <a:rPr lang="de-DE" sz="1400" b="0" kern="0">
                <a:solidFill>
                  <a:schemeClr val="tx1"/>
                </a:solidFill>
              </a:rPr>
            </a:br>
            <a:r>
              <a:rPr lang="de-DE" sz="1400" b="0" kern="0">
                <a:solidFill>
                  <a:schemeClr val="tx1"/>
                </a:solidFill>
              </a:rPr>
              <a:t>Verlängerung um</a:t>
            </a:r>
            <a:br>
              <a:rPr lang="de-DE" sz="1400" b="0" kern="0">
                <a:solidFill>
                  <a:schemeClr val="tx1"/>
                </a:solidFill>
              </a:rPr>
            </a:br>
            <a:r>
              <a:rPr lang="de-DE" sz="1400" b="0" kern="0">
                <a:solidFill>
                  <a:schemeClr val="tx1"/>
                </a:solidFill>
              </a:rPr>
              <a:t>jeweils 1 Monat</a:t>
            </a: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200" b="0" kern="0">
              <a:solidFill>
                <a:schemeClr val="tx1"/>
              </a:solidFill>
            </a:endParaRP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200" b="0" kern="0">
              <a:solidFill>
                <a:srgbClr val="3B3B3B"/>
              </a:solidFill>
            </a:endParaRP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200" b="0" kern="0">
              <a:solidFill>
                <a:schemeClr val="tx1"/>
              </a:solidFill>
            </a:endParaRP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r>
              <a:rPr lang="de-DE" sz="1800" b="0" kern="0">
                <a:solidFill>
                  <a:schemeClr val="tx1"/>
                </a:solidFill>
                <a:latin typeface="+mj-lt"/>
              </a:rPr>
              <a:t>Kündigungsfrist</a:t>
            </a:r>
            <a:br>
              <a:rPr lang="de-DE" sz="1800" b="0" kern="0">
                <a:solidFill>
                  <a:srgbClr val="3B3B3B"/>
                </a:solidFill>
              </a:rPr>
            </a:br>
            <a:r>
              <a:rPr lang="de-DE" sz="1400" b="0" kern="0">
                <a:solidFill>
                  <a:schemeClr val="tx1"/>
                </a:solidFill>
              </a:rPr>
              <a:t>4 Wochen zum Laufzeitende</a:t>
            </a: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400" kern="0">
              <a:solidFill>
                <a:schemeClr val="tx1"/>
              </a:solidFill>
            </a:endParaRPr>
          </a:p>
          <a:p>
            <a:pPr marL="0" lvl="2" indent="0" defTabSz="914133">
              <a:spcBef>
                <a:spcPts val="800"/>
              </a:spcBef>
              <a:buNone/>
              <a:defRPr/>
            </a:pPr>
            <a:endParaRPr lang="de-DE" kern="0">
              <a:solidFill>
                <a:srgbClr val="3B3B3B"/>
              </a:solidFill>
              <a:latin typeface="EnBW DIN Pro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359F7C3-A5B0-8437-0612-2FBC324CF9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64052" y="2276872"/>
            <a:ext cx="481455" cy="46878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1A617002-DFFC-9BD6-8B2A-DA86C2252F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64052" y="4127385"/>
            <a:ext cx="418106" cy="506795"/>
          </a:xfrm>
          <a:prstGeom prst="rect">
            <a:avLst/>
          </a:prstGeom>
        </p:spPr>
      </p:pic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FF608C2-BC8F-1082-A694-750616688215}"/>
              </a:ext>
            </a:extLst>
          </p:cNvPr>
          <p:cNvCxnSpPr>
            <a:cxnSpLocks/>
          </p:cNvCxnSpPr>
          <p:nvPr/>
        </p:nvCxnSpPr>
        <p:spPr>
          <a:xfrm flipV="1">
            <a:off x="7661395" y="1881188"/>
            <a:ext cx="0" cy="36000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519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BD78293D-D7ED-829F-380D-4727E66397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40" progId="TCLayout.ActiveDocument.1">
                  <p:embed/>
                </p:oleObj>
              </mc:Choice>
              <mc:Fallback>
                <p:oleObj name="think-cell Folie" r:id="rId4" imgW="338" imgH="34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78293D-D7ED-829F-380D-4727E6639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 descr="Ein Bild, das Elektronik, Elektronisches Gerät, Fernbedienung, Gerät enthält.&#10;&#10;Automatisch generierte Beschreibung">
            <a:extLst>
              <a:ext uri="{FF2B5EF4-FFF2-40B4-BE49-F238E27FC236}">
                <a16:creationId xmlns:a16="http://schemas.microsoft.com/office/drawing/2014/main" id="{627D8AB8-054D-83FF-9128-9EBD24FCA2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8335" y="3313833"/>
            <a:ext cx="3293665" cy="1853131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96079435-3C57-66B9-0461-E7B6D62DE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10130247" cy="503845"/>
          </a:xfrm>
        </p:spPr>
        <p:txBody>
          <a:bodyPr vert="horz"/>
          <a:lstStyle/>
          <a:p>
            <a:r>
              <a:rPr lang="de-DE" dirty="0">
                <a:solidFill>
                  <a:schemeClr val="tx2"/>
                </a:solidFill>
              </a:rPr>
              <a:t>Die beste Lösung für Fernsehen in bester Qualität</a:t>
            </a:r>
            <a:br>
              <a:rPr lang="de-DE" dirty="0"/>
            </a:br>
            <a:endParaRPr lang="de-DE" dirty="0"/>
          </a:p>
        </p:txBody>
      </p:sp>
      <p:graphicFrame>
        <p:nvGraphicFramePr>
          <p:cNvPr id="2" name="Inhaltsplatzhalter 1">
            <a:extLst>
              <a:ext uri="{FF2B5EF4-FFF2-40B4-BE49-F238E27FC236}">
                <a16:creationId xmlns:a16="http://schemas.microsoft.com/office/drawing/2014/main" id="{777C568E-06E5-2935-F86F-F20BBC4D9F67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06395018"/>
              </p:ext>
            </p:extLst>
          </p:nvPr>
        </p:nvGraphicFramePr>
        <p:xfrm>
          <a:off x="407987" y="1793669"/>
          <a:ext cx="6817049" cy="3526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65049">
                  <a:extLst>
                    <a:ext uri="{9D8B030D-6E8A-4147-A177-3AD203B41FA5}">
                      <a16:colId xmlns:a16="http://schemas.microsoft.com/office/drawing/2014/main" val="1605778460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58023585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3553708777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35953601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22670312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24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Comfort</a:t>
                      </a: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2400" kern="1200" dirty="0">
                        <a:solidFill>
                          <a:schemeClr val="tx2"/>
                        </a:solidFill>
                        <a:latin typeface="+mj-lt"/>
                        <a:ea typeface="DIN-Regular" panose="020B0500010101010101" pitchFamily="34" charset="0"/>
                        <a:cs typeface="EnBW DIN Pro Medium" panose="020B0604020101020102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24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Perfect Plus</a:t>
                      </a:r>
                    </a:p>
                  </a:txBody>
                  <a:tcPr marL="5443" marR="5443" marT="54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135397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EnBW DIN Pro"/>
                        </a:rPr>
                        <a:t>Sender</a:t>
                      </a:r>
                    </a:p>
                  </a:txBody>
                  <a:tcPr marL="5443" marR="5443" marT="5443" marB="0" anchor="ctr"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190</a:t>
                      </a:r>
                    </a:p>
                  </a:txBody>
                  <a:tcPr marL="5443" marR="5443" marT="5443" marB="0" anchor="ctr"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52</a:t>
                      </a:r>
                    </a:p>
                  </a:txBody>
                  <a:tcPr marL="5443" marR="5443" marT="5443" marB="0" anchor="ctr"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3096830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Davon in HD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155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40 Free-TV Sender</a:t>
                      </a:r>
                    </a:p>
                    <a:p>
                      <a:pPr algn="l" fontAlgn="b"/>
                      <a:r>
                        <a:rPr lang="it-IT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inkl. RTL, ProSieben, usw.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2838242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Pay-TV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0</a:t>
                      </a:r>
                      <a:r>
                        <a:rPr lang="de-DE" sz="1100" u="none" strike="noStrike" dirty="0">
                          <a:effectLst/>
                        </a:rPr>
                        <a:t> 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Sender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62 Pay-TV Sender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681248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Waiputhek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0.000 Filme und Serien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30.000 Filme und Serien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9577059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Aufnahmen (in Std.)</a:t>
                      </a:r>
                      <a:r>
                        <a:rPr lang="de-DE" sz="1400" b="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50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300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0275723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Streams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4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053410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Pause &amp; Restart</a:t>
                      </a:r>
                      <a:r>
                        <a:rPr lang="de-DE" sz="1400" b="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inklusive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inklusive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41791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de-DE" sz="18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Preis monatlich</a:t>
                      </a:r>
                      <a:r>
                        <a:rPr lang="de-DE" sz="1800" kern="1200" baseline="300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1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de-DE" sz="1800" kern="1200" baseline="30000" dirty="0">
                        <a:solidFill>
                          <a:schemeClr val="tx2"/>
                        </a:solidFill>
                        <a:latin typeface="+mj-lt"/>
                        <a:ea typeface="DIN-Regular" panose="020B0500010101010101" pitchFamily="34" charset="0"/>
                        <a:cs typeface="EnBW DIN Pro Medium" panose="020B0604020101020102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7,90 €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800" kern="1200" dirty="0">
                        <a:solidFill>
                          <a:schemeClr val="tx2"/>
                        </a:solidFill>
                        <a:latin typeface="+mj-lt"/>
                        <a:ea typeface="DIN-Regular" panose="020B0500010101010101" pitchFamily="34" charset="0"/>
                        <a:cs typeface="EnBW DIN Pro Medium" panose="020B0604020101020102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de-DE" sz="18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11,90 €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037315"/>
                  </a:ext>
                </a:extLst>
              </a:tr>
            </a:tbl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A4706ED-7F78-B372-53A4-B8222D393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1BBCBF9-F478-BDB5-1126-4DFFCEB3F5E5}"/>
              </a:ext>
            </a:extLst>
          </p:cNvPr>
          <p:cNvSpPr txBox="1"/>
          <p:nvPr/>
        </p:nvSpPr>
        <p:spPr bwMode="gray">
          <a:xfrm>
            <a:off x="407988" y="6285600"/>
            <a:ext cx="11376000" cy="179536"/>
          </a:xfrm>
          <a:prstGeom prst="rect">
            <a:avLst/>
          </a:prstGeom>
          <a:noFill/>
        </p:spPr>
        <p:txBody>
          <a:bodyPr wrap="square" lIns="0" tIns="36000" rIns="0" bIns="0" anchor="b" anchorCtr="0">
            <a:noAutofit/>
          </a:bodyPr>
          <a:lstStyle/>
          <a:p>
            <a:r>
              <a:rPr lang="de-DE" sz="1000" spc="10" dirty="0">
                <a:cs typeface="EnBW DIN Pro"/>
              </a:rPr>
              <a:t>waipu.tv ist ein Service der </a:t>
            </a:r>
            <a:r>
              <a:rPr lang="de-DE" sz="1000" spc="10" dirty="0" err="1">
                <a:cs typeface="EnBW DIN Pro"/>
              </a:rPr>
              <a:t>Exaring</a:t>
            </a:r>
            <a:r>
              <a:rPr lang="de-DE" sz="1000" spc="10" dirty="0">
                <a:cs typeface="EnBW DIN Pro"/>
              </a:rPr>
              <a:t> AG (Leopoldstr. 236, 80807 München). Es gelten die Allgemeinen Geschäftsbedingungen, Datenschutzhinweise und Angebotsbeschreibungen der </a:t>
            </a:r>
            <a:r>
              <a:rPr lang="de-DE" sz="1000" spc="10" dirty="0" err="1">
                <a:cs typeface="EnBW DIN Pro"/>
              </a:rPr>
              <a:t>Exaring</a:t>
            </a:r>
            <a:r>
              <a:rPr lang="de-DE" sz="1000" spc="10" dirty="0">
                <a:cs typeface="EnBW DIN Pro"/>
              </a:rPr>
              <a:t> AG.</a:t>
            </a:r>
            <a:br>
              <a:rPr lang="de-DE" sz="1000" spc="10" dirty="0">
                <a:cs typeface="EnBW DIN Pro"/>
              </a:rPr>
            </a:br>
            <a:r>
              <a:rPr lang="de-DE" sz="1000" spc="10" baseline="30000" dirty="0">
                <a:cs typeface="EnBW DIN Pro"/>
              </a:rPr>
              <a:t>1</a:t>
            </a:r>
            <a:r>
              <a:rPr lang="de-DE" sz="1000" spc="10" dirty="0">
                <a:cs typeface="EnBW DIN Pro"/>
              </a:rPr>
              <a:t> Mindestlaufzeit: 12 Monate, automatische Verlängerung um 1 Monat, Kündigungsfrist: 4 Wochen zum Laufzeitende.</a:t>
            </a:r>
          </a:p>
          <a:p>
            <a:r>
              <a:rPr lang="de-DE" sz="1000" spc="10" baseline="30000" dirty="0">
                <a:cs typeface="EnBW DIN Pro"/>
              </a:rPr>
              <a:t>2</a:t>
            </a:r>
            <a:r>
              <a:rPr lang="de-DE" sz="1000" spc="10" dirty="0">
                <a:cs typeface="EnBW DIN Pro"/>
              </a:rPr>
              <a:t>Aufnahmen,  Pause und Restart sind bei einigen Sendungen aus lizenzrechtlichen Gründen nicht oder nur eingeschränkt möglich.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EF1DADC-1141-AEDA-57F0-C77B081DE23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5390" y="1709372"/>
            <a:ext cx="2323354" cy="677437"/>
          </a:xfrm>
          <a:prstGeom prst="rect">
            <a:avLst/>
          </a:prstGeom>
        </p:spPr>
      </p:pic>
      <p:graphicFrame>
        <p:nvGraphicFramePr>
          <p:cNvPr id="6" name="Tabelle 10">
            <a:extLst>
              <a:ext uri="{FF2B5EF4-FFF2-40B4-BE49-F238E27FC236}">
                <a16:creationId xmlns:a16="http://schemas.microsoft.com/office/drawing/2014/main" id="{6B5C747E-0E25-55D9-D753-3143E5E1BB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8624426"/>
              </p:ext>
            </p:extLst>
          </p:nvPr>
        </p:nvGraphicFramePr>
        <p:xfrm>
          <a:off x="7852029" y="2611076"/>
          <a:ext cx="3188242" cy="25529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4625">
                  <a:extLst>
                    <a:ext uri="{9D8B030D-6E8A-4147-A177-3AD203B41FA5}">
                      <a16:colId xmlns:a16="http://schemas.microsoft.com/office/drawing/2014/main" val="2240087566"/>
                    </a:ext>
                  </a:extLst>
                </a:gridCol>
                <a:gridCol w="1253617">
                  <a:extLst>
                    <a:ext uri="{9D8B030D-6E8A-4147-A177-3AD203B41FA5}">
                      <a16:colId xmlns:a16="http://schemas.microsoft.com/office/drawing/2014/main" val="648040424"/>
                    </a:ext>
                  </a:extLst>
                </a:gridCol>
              </a:tblGrid>
              <a:tr h="754645">
                <a:tc gridSpan="2">
                  <a:txBody>
                    <a:bodyPr/>
                    <a:lstStyle/>
                    <a:p>
                      <a:r>
                        <a:rPr lang="de-DE" sz="1800" kern="1200" dirty="0">
                          <a:solidFill>
                            <a:srgbClr val="322A26"/>
                          </a:solidFill>
                          <a:latin typeface="+mj-lt"/>
                          <a:ea typeface="+mn-ea"/>
                          <a:cs typeface="+mn-cs"/>
                        </a:rPr>
                        <a:t>Jetzt waipu.tv 4K Stick sichern!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5905042"/>
                  </a:ext>
                </a:extLst>
              </a:tr>
              <a:tr h="1504796">
                <a:tc>
                  <a:txBody>
                    <a:bodyPr/>
                    <a:lstStyle/>
                    <a:p>
                      <a:r>
                        <a:rPr lang="de-DE" sz="1400" b="0" kern="1200" dirty="0">
                          <a:solidFill>
                            <a:srgbClr val="322A26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Wählen Sie aus tausenden von Filmen, Serien und Live-Übertragungen – an jedem Fernseher – alles auf Knopfdruck verfügbar mit dem waipu.tv 4K Stick!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b="0" kern="1200" dirty="0">
                        <a:solidFill>
                          <a:srgbClr val="322A26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742919"/>
                  </a:ext>
                </a:extLst>
              </a:tr>
            </a:tbl>
          </a:graphicData>
        </a:graphic>
      </p:graphicFrame>
      <p:sp>
        <p:nvSpPr>
          <p:cNvPr id="5" name="Titel 3">
            <a:extLst>
              <a:ext uri="{FF2B5EF4-FFF2-40B4-BE49-F238E27FC236}">
                <a16:creationId xmlns:a16="http://schemas.microsoft.com/office/drawing/2014/main" id="{A9847959-9D48-9B93-5E8C-950A505B8CA2}"/>
              </a:ext>
            </a:extLst>
          </p:cNvPr>
          <p:cNvSpPr txBox="1">
            <a:spLocks/>
          </p:cNvSpPr>
          <p:nvPr/>
        </p:nvSpPr>
        <p:spPr>
          <a:xfrm>
            <a:off x="397427" y="918881"/>
            <a:ext cx="11571253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>
                <a:solidFill>
                  <a:schemeClr val="tx2"/>
                </a:solidFill>
              </a:rPr>
              <a:t>TV-Senderliste (Free- und Pay-TV) unter </a:t>
            </a:r>
            <a:r>
              <a:rPr lang="de-DE" sz="2000" dirty="0">
                <a:solidFill>
                  <a:schemeClr val="tx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aipu.tv</a:t>
            </a:r>
            <a:r>
              <a:rPr lang="de-DE" sz="2000" dirty="0">
                <a:solidFill>
                  <a:schemeClr val="tx2"/>
                </a:solidFill>
              </a:rPr>
              <a:t> abrufbar.</a:t>
            </a:r>
            <a:br>
              <a:rPr lang="de-DE" sz="2000" dirty="0">
                <a:solidFill>
                  <a:schemeClr val="tx2"/>
                </a:solidFill>
              </a:rPr>
            </a:br>
            <a:r>
              <a:rPr lang="de-DE" sz="2000" dirty="0">
                <a:solidFill>
                  <a:schemeClr val="tx2"/>
                </a:solidFill>
              </a:rPr>
              <a:t>Größtes Senderangebot!</a:t>
            </a:r>
            <a:br>
              <a:rPr lang="de-DE" sz="2000" dirty="0"/>
            </a:b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12052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EE0B4B7-9F6E-E015-2CB5-3B79D957E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HD TV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unsere vollwertige Lösung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für Fernsehen in bester Qualitä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8D2A354-7BFC-E5DC-180B-A5CEA7CD71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/>
          <a:p>
            <a:r>
              <a:rPr lang="de-DE" dirty="0"/>
              <a:t>Welche Geräte können mit waipu.tv</a:t>
            </a:r>
            <a:br>
              <a:rPr lang="de-DE" dirty="0"/>
            </a:br>
            <a:r>
              <a:rPr lang="de-DE" dirty="0"/>
              <a:t>verwendet werden?</a:t>
            </a:r>
          </a:p>
          <a:p>
            <a:endParaRPr lang="de-DE" dirty="0"/>
          </a:p>
          <a:p>
            <a:pPr algn="ctr"/>
            <a:r>
              <a:rPr lang="de-DE" b="1" dirty="0">
                <a:solidFill>
                  <a:schemeClr val="tx2"/>
                </a:solidFill>
              </a:rPr>
              <a:t>Alle TV-Geräte mit HDMI-Anschluss über waipu.tv 4K Stick</a:t>
            </a:r>
          </a:p>
          <a:p>
            <a:pPr algn="ctr"/>
            <a:r>
              <a:rPr lang="de-DE" b="1" dirty="0">
                <a:solidFill>
                  <a:schemeClr val="tx2"/>
                </a:solidFill>
              </a:rPr>
              <a:t>für einmalig 59,90 €</a:t>
            </a:r>
          </a:p>
          <a:p>
            <a:endParaRPr lang="de-DE" dirty="0"/>
          </a:p>
          <a:p>
            <a:pPr lvl="1"/>
            <a:r>
              <a:rPr lang="de-DE" dirty="0"/>
              <a:t>Auf folgenden Geräten kann auch die waipu.tv App installiert werden: </a:t>
            </a:r>
          </a:p>
          <a:p>
            <a:pPr lvl="2"/>
            <a:r>
              <a:rPr lang="de-DE" dirty="0"/>
              <a:t>Samsung Smart TV ab Jahr 2017 </a:t>
            </a:r>
          </a:p>
          <a:p>
            <a:pPr lvl="2"/>
            <a:r>
              <a:rPr lang="de-DE" dirty="0"/>
              <a:t>Android TV</a:t>
            </a:r>
          </a:p>
          <a:p>
            <a:pPr lvl="2"/>
            <a:r>
              <a:rPr lang="de-DE" dirty="0"/>
              <a:t>Apple TV</a:t>
            </a:r>
          </a:p>
          <a:p>
            <a:pPr lvl="2"/>
            <a:r>
              <a:rPr lang="de-DE" dirty="0"/>
              <a:t>iPhone und iPad</a:t>
            </a:r>
          </a:p>
          <a:p>
            <a:pPr lvl="2"/>
            <a:r>
              <a:rPr lang="de-DE" dirty="0"/>
              <a:t>Smartphone und Tablet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BD39011-60C5-B122-CDC4-E81AF820B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88FCBDE-5C96-8765-7219-DD4F3B9BBB03}"/>
              </a:ext>
            </a:extLst>
          </p:cNvPr>
          <p:cNvSpPr txBox="1"/>
          <p:nvPr/>
        </p:nvSpPr>
        <p:spPr bwMode="gray">
          <a:xfrm>
            <a:off x="407988" y="6285600"/>
            <a:ext cx="11376000" cy="179536"/>
          </a:xfrm>
          <a:prstGeom prst="rect">
            <a:avLst/>
          </a:prstGeom>
          <a:noFill/>
        </p:spPr>
        <p:txBody>
          <a:bodyPr wrap="square" lIns="0" tIns="36000" rIns="0" bIns="0" anchor="b" anchorCtr="0">
            <a:noAutofit/>
          </a:bodyPr>
          <a:lstStyle/>
          <a:p>
            <a:r>
              <a:rPr lang="de-DE" sz="1000" spc="10" dirty="0">
                <a:cs typeface="EnBW DIN Pro"/>
              </a:rPr>
              <a:t>Den aktuellsten Stand können Sie unter www.waipu.tv/geraete/ abrufen.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84310D-70F4-C589-7B0C-8E19E8950A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528" y="1830254"/>
            <a:ext cx="2323354" cy="677437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6B1D330-6289-1EBA-9536-EE218000BEB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663" y="3492355"/>
            <a:ext cx="6230938" cy="2832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87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F58086-35F8-F2E0-24F8-687234097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Auswahl Standardrouter oder Premiumrou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E61618-F69B-143D-F4F7-81F9967B9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5" name="Tabelle 14">
            <a:extLst>
              <a:ext uri="{FF2B5EF4-FFF2-40B4-BE49-F238E27FC236}">
                <a16:creationId xmlns:a16="http://schemas.microsoft.com/office/drawing/2014/main" id="{9FE76F17-59C8-C8C9-31CA-70FBA21F67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3022250"/>
              </p:ext>
            </p:extLst>
          </p:nvPr>
        </p:nvGraphicFramePr>
        <p:xfrm>
          <a:off x="401751" y="1828800"/>
          <a:ext cx="8172000" cy="44319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1321339472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2936891332"/>
                    </a:ext>
                  </a:extLst>
                </a:gridCol>
                <a:gridCol w="3024000">
                  <a:extLst>
                    <a:ext uri="{9D8B030D-6E8A-4147-A177-3AD203B41FA5}">
                      <a16:colId xmlns:a16="http://schemas.microsoft.com/office/drawing/2014/main" val="66879746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230202594"/>
                    </a:ext>
                  </a:extLst>
                </a:gridCol>
                <a:gridCol w="3024000">
                  <a:extLst>
                    <a:ext uri="{9D8B030D-6E8A-4147-A177-3AD203B41FA5}">
                      <a16:colId xmlns:a16="http://schemas.microsoft.com/office/drawing/2014/main" val="2368566641"/>
                    </a:ext>
                  </a:extLst>
                </a:gridCol>
              </a:tblGrid>
              <a:tr h="479622">
                <a:tc>
                  <a:txBody>
                    <a:bodyPr/>
                    <a:lstStyle/>
                    <a:p>
                      <a:endParaRPr lang="de-DE" sz="11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solidFill>
                            <a:schemeClr val="tx2"/>
                          </a:solidFill>
                          <a:latin typeface="+mj-lt"/>
                        </a:rPr>
                        <a:t>FRITZ!Box 7530 AX</a:t>
                      </a:r>
                      <a:b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(Standardrouter) </a:t>
                      </a:r>
                      <a:b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nur</a:t>
                      </a: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000" b="1" dirty="0">
                          <a:solidFill>
                            <a:schemeClr val="tx2"/>
                          </a:solidFill>
                          <a:latin typeface="+mn-lt"/>
                        </a:rPr>
                        <a:t>99 €</a:t>
                      </a: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000" b="0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/ einmalig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6000" marR="0" marT="14400" marB="7200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4400" marB="72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solidFill>
                            <a:schemeClr val="tx2"/>
                          </a:solidFill>
                          <a:latin typeface="+mj-lt"/>
                        </a:rPr>
                        <a:t>FRITZ!Box 7590 AX</a:t>
                      </a:r>
                      <a:b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(Premiumrouter) </a:t>
                      </a:r>
                      <a:b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nur</a:t>
                      </a: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000" b="1" dirty="0">
                          <a:solidFill>
                            <a:schemeClr val="tx2"/>
                          </a:solidFill>
                          <a:latin typeface="+mn-lt"/>
                        </a:rPr>
                        <a:t>169 €</a:t>
                      </a: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000" b="0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/ einmalig </a:t>
                      </a:r>
                      <a:endParaRPr lang="de-DE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6000" marR="0" marT="14400" marB="7200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8677987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VDSL-</a:t>
                      </a:r>
                      <a:r>
                        <a:rPr lang="de-DE" sz="1000" b="0" err="1">
                          <a:solidFill>
                            <a:schemeClr val="tx1"/>
                          </a:solidFill>
                          <a:latin typeface="+mn-lt"/>
                        </a:rPr>
                        <a:t>Supervectoring</a:t>
                      </a: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 35b</a:t>
                      </a:r>
                    </a:p>
                  </a:txBody>
                  <a:tcPr marL="0" marR="0" marT="21600" marB="216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en-US" sz="1000" b="0">
                          <a:solidFill>
                            <a:schemeClr val="bg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de-DE" sz="1000" b="0">
                        <a:solidFill>
                          <a:schemeClr val="bg2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endParaRPr lang="de-DE" sz="400" b="0">
                        <a:solidFill>
                          <a:schemeClr val="bg2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en-US" sz="1000" b="0">
                          <a:solidFill>
                            <a:schemeClr val="bg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de-DE" sz="1000" b="0">
                        <a:solidFill>
                          <a:schemeClr val="bg2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0551453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ADSL/ADSL2+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de-DE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498768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VDSL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en-US" sz="1000" b="0">
                          <a:solidFill>
                            <a:schemeClr val="bg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de-DE" sz="1000" b="0">
                        <a:solidFill>
                          <a:schemeClr val="bg2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5459072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Gigabit LAN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4x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4x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366872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Gigabit WAN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  <a:sym typeface="Wingdings 2" panose="05020102010507070707" pitchFamily="18" charset="2"/>
                        </a:rPr>
                        <a:t>Über LAN1-Port</a:t>
                      </a:r>
                      <a:endParaRPr lang="de-DE" sz="10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  <a:sym typeface="Wingdings 2" panose="05020102010507070707" pitchFamily="18" charset="2"/>
                        </a:rPr>
                        <a:t>1x</a:t>
                      </a:r>
                      <a:endParaRPr lang="de-DE" sz="10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604553"/>
                  </a:ext>
                </a:extLst>
              </a:tr>
              <a:tr h="461655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WLAN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Wi-Fi 6 (WLAN AX) bis 1.800 Mbit/s (5 GHz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und 600 Mbit/s (2,4 GHz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2x2 (2,4 GHz), 3x3 (5 GHz) mit Multi-User-MIMO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  <a:latin typeface="+mn-lt"/>
                        </a:rPr>
                        <a:t>Wi-Fi 6 (WLAN AX) bis 2.400 Mbit/s (5 GHz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  <a:latin typeface="+mn-lt"/>
                        </a:rPr>
                        <a:t>und 1.200 Mbit/s (2,4 GHz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4x4 Wi-Fi 6 (WLAN AX) mit Multi-User-MIMO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5212408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Telefonanlage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für IP basierte Telefone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für IP basierte Telefone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0465538"/>
                  </a:ext>
                </a:extLst>
              </a:tr>
              <a:tr h="400646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Telefonanschlüsse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1x a/b-Port (wahlweise TAE/RJ11) für analoges</a:t>
                      </a:r>
                      <a:b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Telefon, Anrufbeantworter und Fax </a:t>
                      </a:r>
                      <a:b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(kein ISDN/S0-Bus)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2x a/b-Port (wahlweise TAE/RJ11) für analoges Telefon, Anrufbeantworter und Fax </a:t>
                      </a:r>
                      <a:b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(kein ISDN/S0-Bus)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0140813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DECT-Basis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  <a:sym typeface="Wingdings 2" panose="05020102010507070707" pitchFamily="18" charset="2"/>
                        </a:rPr>
                        <a:t>Für bis zu 6 Schnurlostelefone</a:t>
                      </a:r>
                      <a:endParaRPr lang="de-DE" sz="10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  <a:sym typeface="Wingdings 2" panose="05020102010507070707" pitchFamily="18" charset="2"/>
                        </a:rPr>
                        <a:t>Für bis zu 6 Schnurlostelefone</a:t>
                      </a:r>
                      <a:endParaRPr lang="de-DE" sz="10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361056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Anrufbeantworter/Fax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0027943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Mediaserver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77024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USB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1x USB 2.0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2x USB 3.0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634076"/>
                  </a:ext>
                </a:extLst>
              </a:tr>
              <a:tr h="224164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Mittlere Leistungsaufnahme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6-10 Watt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14-16 Watt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1203310"/>
                  </a:ext>
                </a:extLst>
              </a:tr>
              <a:tr h="400646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Performance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Vernetzte Anwendungen wie IPTV, Video</a:t>
                      </a:r>
                      <a:b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on Demand und Mediastreaming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Vernetzte Anwendungen wie IPTV, Video on Demand</a:t>
                      </a:r>
                      <a:b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und Mediastreaming dank </a:t>
                      </a:r>
                      <a:r>
                        <a:rPr lang="de-DE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leistungsstarkem Dual-</a:t>
                      </a:r>
                      <a:br>
                        <a:rPr lang="de-DE" sz="1000" b="1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Core-Prozessor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8198014"/>
                  </a:ext>
                </a:extLst>
              </a:tr>
            </a:tbl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B44AE12-42F1-2B26-2EB1-4FFC1550B6AF}"/>
              </a:ext>
            </a:extLst>
          </p:cNvPr>
          <p:cNvSpPr txBox="1">
            <a:spLocks/>
          </p:cNvSpPr>
          <p:nvPr/>
        </p:nvSpPr>
        <p:spPr>
          <a:xfrm>
            <a:off x="10632821" y="5655957"/>
            <a:ext cx="936000" cy="37062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Aft>
                <a:spcPts val="2400"/>
              </a:spcAft>
              <a:buNone/>
            </a:pPr>
            <a:r>
              <a:rPr lang="de-DE" sz="1800">
                <a:latin typeface="+mj-lt"/>
              </a:rPr>
              <a:t>2 Jahre</a:t>
            </a:r>
            <a:br>
              <a:rPr lang="de-DE" sz="1400" b="1"/>
            </a:br>
            <a:r>
              <a:rPr lang="de-DE" sz="1400"/>
              <a:t>Garanti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162155D-82A0-482C-2F01-442FB1956F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11821" y="4977175"/>
            <a:ext cx="378000" cy="540000"/>
          </a:xfrm>
          <a:prstGeom prst="rect">
            <a:avLst/>
          </a:prstGeom>
        </p:spPr>
      </p:pic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8F193BD2-DA74-47F1-5FED-CEFA7FC3EFA1}"/>
              </a:ext>
            </a:extLst>
          </p:cNvPr>
          <p:cNvSpPr txBox="1">
            <a:spLocks/>
          </p:cNvSpPr>
          <p:nvPr/>
        </p:nvSpPr>
        <p:spPr>
          <a:xfrm>
            <a:off x="9264492" y="5655957"/>
            <a:ext cx="936000" cy="3706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Aft>
                <a:spcPts val="2400"/>
              </a:spcAft>
              <a:buNone/>
            </a:pPr>
            <a:r>
              <a:rPr lang="de-DE" sz="1800">
                <a:latin typeface="+mj-lt"/>
              </a:rPr>
              <a:t>Einfache</a:t>
            </a:r>
            <a:br>
              <a:rPr lang="de-DE" sz="1800">
                <a:latin typeface="+mj-lt"/>
              </a:rPr>
            </a:br>
            <a:r>
              <a:rPr lang="de-DE" sz="1400"/>
              <a:t>Installation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1D97D25-D58C-7849-ED7D-BEFAA12BED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62492" y="4944372"/>
            <a:ext cx="540000" cy="540000"/>
          </a:xfrm>
          <a:prstGeom prst="rect">
            <a:avLst/>
          </a:prstGeom>
        </p:spPr>
      </p:pic>
      <p:pic>
        <p:nvPicPr>
          <p:cNvPr id="21" name="Picture 4">
            <a:extLst>
              <a:ext uri="{FF2B5EF4-FFF2-40B4-BE49-F238E27FC236}">
                <a16:creationId xmlns:a16="http://schemas.microsoft.com/office/drawing/2014/main" id="{6F37172B-61D9-1683-7B18-CEF0338FA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27037" y="1837204"/>
            <a:ext cx="2184823" cy="1365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52364831-3786-0DE3-9ACD-0E218637CB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1817" y="3290983"/>
            <a:ext cx="1968000" cy="123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8AA91D39-3C9E-B2F4-F35E-9858CE4AD966}"/>
              </a:ext>
            </a:extLst>
          </p:cNvPr>
          <p:cNvCxnSpPr>
            <a:cxnSpLocks/>
          </p:cNvCxnSpPr>
          <p:nvPr/>
        </p:nvCxnSpPr>
        <p:spPr>
          <a:xfrm flipV="1">
            <a:off x="8938809" y="1881188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>
            <a:extLst>
              <a:ext uri="{FF2B5EF4-FFF2-40B4-BE49-F238E27FC236}">
                <a16:creationId xmlns:a16="http://schemas.microsoft.com/office/drawing/2014/main" id="{B9DE5D95-E841-F8B6-533E-93664F7D47D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04083" y="1885954"/>
            <a:ext cx="285750" cy="28575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AB23BEF9-17CA-7C87-FAFF-D0FD2DA858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58633" y="1885954"/>
            <a:ext cx="285750" cy="28575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D09CABAE-7946-CB0D-FF16-058E80110E1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03867" y="2390920"/>
            <a:ext cx="285750" cy="28575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01675F32-58D4-1FFA-3686-5A263109106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03867" y="3891830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74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38312" y="382325"/>
            <a:ext cx="9443167" cy="328295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Anbieterwechselauftrag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für Rufnummernmitnahme mit Anschlusskündigung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  <a:sym typeface="Wingdings" panose="05000000000000000000" pitchFamily="2" charset="2"/>
              </a:rPr>
              <a:t> Komplett-Service durch NetCom BW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B06662B-2205-4061-8A98-304DD46288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7</a:t>
            </a:fld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AC912D00-494F-6338-C6D0-9BE96F5B1D36}"/>
              </a:ext>
            </a:extLst>
          </p:cNvPr>
          <p:cNvGrpSpPr/>
          <p:nvPr/>
        </p:nvGrpSpPr>
        <p:grpSpPr>
          <a:xfrm>
            <a:off x="2603699" y="1896792"/>
            <a:ext cx="6984602" cy="4381868"/>
            <a:chOff x="2567782" y="1896791"/>
            <a:chExt cx="7056610" cy="4427043"/>
          </a:xfrm>
        </p:grpSpPr>
        <p:pic>
          <p:nvPicPr>
            <p:cNvPr id="5" name="Picture 4" descr="C:\Users\praetoj\Desktop\Anbieterwechselformular_07-2017.tif">
              <a:extLst>
                <a:ext uri="{FF2B5EF4-FFF2-40B4-BE49-F238E27FC236}">
                  <a16:creationId xmlns:a16="http://schemas.microsoft.com/office/drawing/2014/main" id="{0997835F-C4C9-E916-1186-A4EABB27D6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4992"/>
            <a:stretch/>
          </p:blipFill>
          <p:spPr bwMode="auto">
            <a:xfrm>
              <a:off x="2567782" y="1896791"/>
              <a:ext cx="7056439" cy="4427043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F006BFE2-6555-0FEA-E312-CDAF9AD6B0F4}"/>
                </a:ext>
              </a:extLst>
            </p:cNvPr>
            <p:cNvSpPr txBox="1"/>
            <p:nvPr/>
          </p:nvSpPr>
          <p:spPr bwMode="gray">
            <a:xfrm>
              <a:off x="5309884" y="1938768"/>
              <a:ext cx="158417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 err="1">
                  <a:ea typeface="DIN-Regular" panose="020B0500010101010101" pitchFamily="34" charset="0"/>
                </a:rPr>
                <a:t>NetCom</a:t>
              </a:r>
              <a:r>
                <a:rPr lang="de-DE" sz="1100" dirty="0">
                  <a:ea typeface="DIN-Regular" panose="020B0500010101010101" pitchFamily="34" charset="0"/>
                </a:rPr>
                <a:t> BW</a:t>
              </a: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93EBC3D5-A765-AC0B-544E-8F0C32F0ABCE}"/>
                </a:ext>
              </a:extLst>
            </p:cNvPr>
            <p:cNvSpPr txBox="1"/>
            <p:nvPr/>
          </p:nvSpPr>
          <p:spPr bwMode="gray">
            <a:xfrm>
              <a:off x="7968208" y="2452531"/>
              <a:ext cx="158417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z.B. Deutsche Telekom</a:t>
              </a: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BF444D88-CC2D-DC02-4264-92DB136DE452}"/>
                </a:ext>
              </a:extLst>
            </p:cNvPr>
            <p:cNvSpPr txBox="1"/>
            <p:nvPr/>
          </p:nvSpPr>
          <p:spPr bwMode="gray">
            <a:xfrm>
              <a:off x="3929491" y="3192937"/>
              <a:ext cx="158417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Mustermann</a:t>
              </a: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C841275-9D65-6E67-4317-A8F5AD60A9CF}"/>
                </a:ext>
              </a:extLst>
            </p:cNvPr>
            <p:cNvSpPr txBox="1"/>
            <p:nvPr/>
          </p:nvSpPr>
          <p:spPr bwMode="gray">
            <a:xfrm>
              <a:off x="3929491" y="3390361"/>
              <a:ext cx="158417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Musterstraße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511075CD-064B-737E-9B9F-0F572A92563D}"/>
                </a:ext>
              </a:extLst>
            </p:cNvPr>
            <p:cNvSpPr txBox="1"/>
            <p:nvPr/>
          </p:nvSpPr>
          <p:spPr bwMode="gray">
            <a:xfrm>
              <a:off x="3575720" y="3584334"/>
              <a:ext cx="158417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12345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1133AADE-BE2B-09D2-2418-4C8F358C486B}"/>
                </a:ext>
              </a:extLst>
            </p:cNvPr>
            <p:cNvSpPr txBox="1"/>
            <p:nvPr/>
          </p:nvSpPr>
          <p:spPr bwMode="gray">
            <a:xfrm>
              <a:off x="5231904" y="3584334"/>
              <a:ext cx="158417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Musterstadt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C33F75A4-107D-B9FC-E23A-3C4DC5E0362D}"/>
                </a:ext>
              </a:extLst>
            </p:cNvPr>
            <p:cNvSpPr txBox="1"/>
            <p:nvPr/>
          </p:nvSpPr>
          <p:spPr bwMode="gray">
            <a:xfrm>
              <a:off x="7703532" y="3368310"/>
              <a:ext cx="14401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1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922E3BB3-75EE-396B-DA65-35561EF75DD4}"/>
                </a:ext>
              </a:extLst>
            </p:cNvPr>
            <p:cNvSpPr txBox="1"/>
            <p:nvPr/>
          </p:nvSpPr>
          <p:spPr bwMode="gray">
            <a:xfrm>
              <a:off x="7703533" y="3173268"/>
              <a:ext cx="336684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Max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126110A9-DCD9-91B9-6398-DC1853DE1B84}"/>
                </a:ext>
              </a:extLst>
            </p:cNvPr>
            <p:cNvSpPr txBox="1"/>
            <p:nvPr/>
          </p:nvSpPr>
          <p:spPr bwMode="gray">
            <a:xfrm>
              <a:off x="8040216" y="3173269"/>
              <a:ext cx="1584176" cy="1865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200" dirty="0">
                  <a:solidFill>
                    <a:schemeClr val="tx2"/>
                  </a:solidFill>
                  <a:ea typeface="DIN-Regular" panose="020B0500010101010101" pitchFamily="34" charset="0"/>
                </a:rPr>
                <a:t>und Erika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892A80F-17E6-9889-E8D8-9543F3AA2165}"/>
                </a:ext>
              </a:extLst>
            </p:cNvPr>
            <p:cNvSpPr txBox="1"/>
            <p:nvPr/>
          </p:nvSpPr>
          <p:spPr bwMode="gray">
            <a:xfrm>
              <a:off x="3719736" y="5929240"/>
              <a:ext cx="158417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Musterstadt, Datum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AB130B9F-062B-FD19-4EB9-11B2F115B425}"/>
                </a:ext>
              </a:extLst>
            </p:cNvPr>
            <p:cNvSpPr txBox="1"/>
            <p:nvPr/>
          </p:nvSpPr>
          <p:spPr bwMode="gray">
            <a:xfrm>
              <a:off x="7195022" y="5929240"/>
              <a:ext cx="963524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Unterschrift 1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5567ADBA-F86B-4BCD-9843-66600C4D8CF0}"/>
                </a:ext>
              </a:extLst>
            </p:cNvPr>
            <p:cNvSpPr txBox="1"/>
            <p:nvPr/>
          </p:nvSpPr>
          <p:spPr bwMode="gray">
            <a:xfrm>
              <a:off x="8224366" y="5929240"/>
              <a:ext cx="963524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solidFill>
                    <a:schemeClr val="tx2"/>
                  </a:solidFill>
                  <a:ea typeface="DIN-Regular" panose="020B0500010101010101" pitchFamily="34" charset="0"/>
                </a:rPr>
                <a:t>Unterschrift 2</a:t>
              </a:r>
            </a:p>
          </p:txBody>
        </p:sp>
        <p:sp>
          <p:nvSpPr>
            <p:cNvPr id="60416" name="Textfeld 60415">
              <a:extLst>
                <a:ext uri="{FF2B5EF4-FFF2-40B4-BE49-F238E27FC236}">
                  <a16:creationId xmlns:a16="http://schemas.microsoft.com/office/drawing/2014/main" id="{F81E44E0-A65D-DFCD-CDDD-AB9DD27DF842}"/>
                </a:ext>
              </a:extLst>
            </p:cNvPr>
            <p:cNvSpPr txBox="1"/>
            <p:nvPr/>
          </p:nvSpPr>
          <p:spPr bwMode="gray">
            <a:xfrm>
              <a:off x="4223792" y="4017385"/>
              <a:ext cx="158417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12345</a:t>
              </a:r>
            </a:p>
          </p:txBody>
        </p:sp>
        <p:sp>
          <p:nvSpPr>
            <p:cNvPr id="60417" name="Textfeld 60416">
              <a:extLst>
                <a:ext uri="{FF2B5EF4-FFF2-40B4-BE49-F238E27FC236}">
                  <a16:creationId xmlns:a16="http://schemas.microsoft.com/office/drawing/2014/main" id="{8532C951-9123-31DD-30FF-45C3E87164ED}"/>
                </a:ext>
              </a:extLst>
            </p:cNvPr>
            <p:cNvSpPr txBox="1"/>
            <p:nvPr/>
          </p:nvSpPr>
          <p:spPr bwMode="gray">
            <a:xfrm>
              <a:off x="5879976" y="4033663"/>
              <a:ext cx="1584176" cy="171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100" dirty="0">
                  <a:ea typeface="DIN-Regular" panose="020B0500010101010101" pitchFamily="34" charset="0"/>
                </a:rPr>
                <a:t>111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472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85C04F1-324F-C8BD-E0A3-89249A387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6069012" cy="1225104"/>
          </a:xfrm>
        </p:spPr>
        <p:txBody>
          <a:bodyPr/>
          <a:lstStyle/>
          <a:p>
            <a:r>
              <a:rPr lang="de-DE" dirty="0"/>
              <a:t>Regionale Ansprechpartn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6A2E8C-D1F8-82CE-E8F7-ED1C262038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06539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133" dirty="0">
              <a:latin typeface="EnBW DIN Pro"/>
              <a:cs typeface="+mj-cs"/>
              <a:sym typeface="EnBW DIN Pro"/>
            </a:endParaRPr>
          </a:p>
        </p:txBody>
      </p:sp>
      <p:sp>
        <p:nvSpPr>
          <p:cNvPr id="44" name="Freeform 90">
            <a:extLst>
              <a:ext uri="{FF2B5EF4-FFF2-40B4-BE49-F238E27FC236}">
                <a16:creationId xmlns:a16="http://schemas.microsoft.com/office/drawing/2014/main" id="{AD522C66-671A-4109-B655-9367D6688792}"/>
              </a:ext>
            </a:extLst>
          </p:cNvPr>
          <p:cNvSpPr>
            <a:spLocks/>
          </p:cNvSpPr>
          <p:nvPr/>
        </p:nvSpPr>
        <p:spPr bwMode="gray">
          <a:xfrm>
            <a:off x="1724402" y="1890929"/>
            <a:ext cx="3774698" cy="4382871"/>
          </a:xfrm>
          <a:custGeom>
            <a:avLst/>
            <a:gdLst>
              <a:gd name="T0" fmla="*/ 476 w 726"/>
              <a:gd name="T1" fmla="*/ 756 h 788"/>
              <a:gd name="T2" fmla="*/ 440 w 726"/>
              <a:gd name="T3" fmla="*/ 748 h 788"/>
              <a:gd name="T4" fmla="*/ 420 w 726"/>
              <a:gd name="T5" fmla="*/ 730 h 788"/>
              <a:gd name="T6" fmla="*/ 402 w 726"/>
              <a:gd name="T7" fmla="*/ 712 h 788"/>
              <a:gd name="T8" fmla="*/ 372 w 726"/>
              <a:gd name="T9" fmla="*/ 696 h 788"/>
              <a:gd name="T10" fmla="*/ 368 w 726"/>
              <a:gd name="T11" fmla="*/ 704 h 788"/>
              <a:gd name="T12" fmla="*/ 402 w 726"/>
              <a:gd name="T13" fmla="*/ 736 h 788"/>
              <a:gd name="T14" fmla="*/ 394 w 726"/>
              <a:gd name="T15" fmla="*/ 744 h 788"/>
              <a:gd name="T16" fmla="*/ 346 w 726"/>
              <a:gd name="T17" fmla="*/ 720 h 788"/>
              <a:gd name="T18" fmla="*/ 346 w 726"/>
              <a:gd name="T19" fmla="*/ 728 h 788"/>
              <a:gd name="T20" fmla="*/ 346 w 726"/>
              <a:gd name="T21" fmla="*/ 740 h 788"/>
              <a:gd name="T22" fmla="*/ 302 w 726"/>
              <a:gd name="T23" fmla="*/ 740 h 788"/>
              <a:gd name="T24" fmla="*/ 218 w 726"/>
              <a:gd name="T25" fmla="*/ 722 h 788"/>
              <a:gd name="T26" fmla="*/ 238 w 726"/>
              <a:gd name="T27" fmla="*/ 774 h 788"/>
              <a:gd name="T28" fmla="*/ 204 w 726"/>
              <a:gd name="T29" fmla="*/ 778 h 788"/>
              <a:gd name="T30" fmla="*/ 156 w 726"/>
              <a:gd name="T31" fmla="*/ 762 h 788"/>
              <a:gd name="T32" fmla="*/ 110 w 726"/>
              <a:gd name="T33" fmla="*/ 780 h 788"/>
              <a:gd name="T34" fmla="*/ 76 w 726"/>
              <a:gd name="T35" fmla="*/ 774 h 788"/>
              <a:gd name="T36" fmla="*/ 40 w 726"/>
              <a:gd name="T37" fmla="*/ 782 h 788"/>
              <a:gd name="T38" fmla="*/ 8 w 726"/>
              <a:gd name="T39" fmla="*/ 748 h 788"/>
              <a:gd name="T40" fmla="*/ 4 w 726"/>
              <a:gd name="T41" fmla="*/ 708 h 788"/>
              <a:gd name="T42" fmla="*/ 6 w 726"/>
              <a:gd name="T43" fmla="*/ 670 h 788"/>
              <a:gd name="T44" fmla="*/ 22 w 726"/>
              <a:gd name="T45" fmla="*/ 618 h 788"/>
              <a:gd name="T46" fmla="*/ 22 w 726"/>
              <a:gd name="T47" fmla="*/ 584 h 788"/>
              <a:gd name="T48" fmla="*/ 56 w 726"/>
              <a:gd name="T49" fmla="*/ 512 h 788"/>
              <a:gd name="T50" fmla="*/ 60 w 726"/>
              <a:gd name="T51" fmla="*/ 482 h 788"/>
              <a:gd name="T52" fmla="*/ 80 w 726"/>
              <a:gd name="T53" fmla="*/ 426 h 788"/>
              <a:gd name="T54" fmla="*/ 96 w 726"/>
              <a:gd name="T55" fmla="*/ 400 h 788"/>
              <a:gd name="T56" fmla="*/ 116 w 726"/>
              <a:gd name="T57" fmla="*/ 370 h 788"/>
              <a:gd name="T58" fmla="*/ 144 w 726"/>
              <a:gd name="T59" fmla="*/ 346 h 788"/>
              <a:gd name="T60" fmla="*/ 156 w 726"/>
              <a:gd name="T61" fmla="*/ 318 h 788"/>
              <a:gd name="T62" fmla="*/ 208 w 726"/>
              <a:gd name="T63" fmla="*/ 250 h 788"/>
              <a:gd name="T64" fmla="*/ 220 w 726"/>
              <a:gd name="T65" fmla="*/ 218 h 788"/>
              <a:gd name="T66" fmla="*/ 242 w 726"/>
              <a:gd name="T67" fmla="*/ 180 h 788"/>
              <a:gd name="T68" fmla="*/ 246 w 726"/>
              <a:gd name="T69" fmla="*/ 144 h 788"/>
              <a:gd name="T70" fmla="*/ 234 w 726"/>
              <a:gd name="T71" fmla="*/ 118 h 788"/>
              <a:gd name="T72" fmla="*/ 270 w 726"/>
              <a:gd name="T73" fmla="*/ 82 h 788"/>
              <a:gd name="T74" fmla="*/ 302 w 726"/>
              <a:gd name="T75" fmla="*/ 68 h 788"/>
              <a:gd name="T76" fmla="*/ 320 w 726"/>
              <a:gd name="T77" fmla="*/ 130 h 788"/>
              <a:gd name="T78" fmla="*/ 358 w 726"/>
              <a:gd name="T79" fmla="*/ 80 h 788"/>
              <a:gd name="T80" fmla="*/ 420 w 726"/>
              <a:gd name="T81" fmla="*/ 68 h 788"/>
              <a:gd name="T82" fmla="*/ 444 w 726"/>
              <a:gd name="T83" fmla="*/ 6 h 788"/>
              <a:gd name="T84" fmla="*/ 506 w 726"/>
              <a:gd name="T85" fmla="*/ 0 h 788"/>
              <a:gd name="T86" fmla="*/ 536 w 726"/>
              <a:gd name="T87" fmla="*/ 32 h 788"/>
              <a:gd name="T88" fmla="*/ 558 w 726"/>
              <a:gd name="T89" fmla="*/ 68 h 788"/>
              <a:gd name="T90" fmla="*/ 592 w 726"/>
              <a:gd name="T91" fmla="*/ 94 h 788"/>
              <a:gd name="T92" fmla="*/ 634 w 726"/>
              <a:gd name="T93" fmla="*/ 108 h 788"/>
              <a:gd name="T94" fmla="*/ 640 w 726"/>
              <a:gd name="T95" fmla="*/ 200 h 788"/>
              <a:gd name="T96" fmla="*/ 710 w 726"/>
              <a:gd name="T97" fmla="*/ 326 h 788"/>
              <a:gd name="T98" fmla="*/ 706 w 726"/>
              <a:gd name="T99" fmla="*/ 378 h 788"/>
              <a:gd name="T100" fmla="*/ 664 w 726"/>
              <a:gd name="T101" fmla="*/ 376 h 788"/>
              <a:gd name="T102" fmla="*/ 640 w 726"/>
              <a:gd name="T103" fmla="*/ 452 h 788"/>
              <a:gd name="T104" fmla="*/ 596 w 726"/>
              <a:gd name="T105" fmla="*/ 510 h 788"/>
              <a:gd name="T106" fmla="*/ 636 w 726"/>
              <a:gd name="T107" fmla="*/ 632 h 788"/>
              <a:gd name="T108" fmla="*/ 624 w 726"/>
              <a:gd name="T109" fmla="*/ 694 h 788"/>
              <a:gd name="T110" fmla="*/ 610 w 726"/>
              <a:gd name="T111" fmla="*/ 730 h 788"/>
              <a:gd name="T112" fmla="*/ 530 w 726"/>
              <a:gd name="T113" fmla="*/ 758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26" h="788">
                <a:moveTo>
                  <a:pt x="498" y="774"/>
                </a:moveTo>
                <a:lnTo>
                  <a:pt x="498" y="774"/>
                </a:lnTo>
                <a:lnTo>
                  <a:pt x="486" y="762"/>
                </a:lnTo>
                <a:lnTo>
                  <a:pt x="486" y="762"/>
                </a:lnTo>
                <a:lnTo>
                  <a:pt x="476" y="756"/>
                </a:lnTo>
                <a:lnTo>
                  <a:pt x="464" y="752"/>
                </a:lnTo>
                <a:lnTo>
                  <a:pt x="454" y="750"/>
                </a:lnTo>
                <a:lnTo>
                  <a:pt x="444" y="750"/>
                </a:lnTo>
                <a:lnTo>
                  <a:pt x="444" y="750"/>
                </a:lnTo>
                <a:lnTo>
                  <a:pt x="440" y="748"/>
                </a:lnTo>
                <a:lnTo>
                  <a:pt x="436" y="748"/>
                </a:lnTo>
                <a:lnTo>
                  <a:pt x="430" y="742"/>
                </a:lnTo>
                <a:lnTo>
                  <a:pt x="424" y="736"/>
                </a:lnTo>
                <a:lnTo>
                  <a:pt x="420" y="730"/>
                </a:lnTo>
                <a:lnTo>
                  <a:pt x="420" y="730"/>
                </a:lnTo>
                <a:lnTo>
                  <a:pt x="414" y="724"/>
                </a:lnTo>
                <a:lnTo>
                  <a:pt x="410" y="718"/>
                </a:lnTo>
                <a:lnTo>
                  <a:pt x="406" y="714"/>
                </a:lnTo>
                <a:lnTo>
                  <a:pt x="402" y="712"/>
                </a:lnTo>
                <a:lnTo>
                  <a:pt x="402" y="712"/>
                </a:lnTo>
                <a:lnTo>
                  <a:pt x="396" y="710"/>
                </a:lnTo>
                <a:lnTo>
                  <a:pt x="390" y="708"/>
                </a:lnTo>
                <a:lnTo>
                  <a:pt x="382" y="702"/>
                </a:lnTo>
                <a:lnTo>
                  <a:pt x="382" y="702"/>
                </a:lnTo>
                <a:lnTo>
                  <a:pt x="372" y="696"/>
                </a:lnTo>
                <a:lnTo>
                  <a:pt x="368" y="696"/>
                </a:lnTo>
                <a:lnTo>
                  <a:pt x="366" y="698"/>
                </a:lnTo>
                <a:lnTo>
                  <a:pt x="366" y="698"/>
                </a:lnTo>
                <a:lnTo>
                  <a:pt x="366" y="702"/>
                </a:lnTo>
                <a:lnTo>
                  <a:pt x="368" y="704"/>
                </a:lnTo>
                <a:lnTo>
                  <a:pt x="376" y="712"/>
                </a:lnTo>
                <a:lnTo>
                  <a:pt x="396" y="724"/>
                </a:lnTo>
                <a:lnTo>
                  <a:pt x="396" y="724"/>
                </a:lnTo>
                <a:lnTo>
                  <a:pt x="400" y="730"/>
                </a:lnTo>
                <a:lnTo>
                  <a:pt x="402" y="736"/>
                </a:lnTo>
                <a:lnTo>
                  <a:pt x="402" y="740"/>
                </a:lnTo>
                <a:lnTo>
                  <a:pt x="400" y="744"/>
                </a:lnTo>
                <a:lnTo>
                  <a:pt x="400" y="744"/>
                </a:lnTo>
                <a:lnTo>
                  <a:pt x="398" y="744"/>
                </a:lnTo>
                <a:lnTo>
                  <a:pt x="394" y="744"/>
                </a:lnTo>
                <a:lnTo>
                  <a:pt x="386" y="740"/>
                </a:lnTo>
                <a:lnTo>
                  <a:pt x="368" y="728"/>
                </a:lnTo>
                <a:lnTo>
                  <a:pt x="368" y="728"/>
                </a:lnTo>
                <a:lnTo>
                  <a:pt x="352" y="720"/>
                </a:lnTo>
                <a:lnTo>
                  <a:pt x="346" y="720"/>
                </a:lnTo>
                <a:lnTo>
                  <a:pt x="344" y="720"/>
                </a:lnTo>
                <a:lnTo>
                  <a:pt x="344" y="722"/>
                </a:lnTo>
                <a:lnTo>
                  <a:pt x="344" y="722"/>
                </a:lnTo>
                <a:lnTo>
                  <a:pt x="344" y="726"/>
                </a:lnTo>
                <a:lnTo>
                  <a:pt x="346" y="728"/>
                </a:lnTo>
                <a:lnTo>
                  <a:pt x="348" y="732"/>
                </a:lnTo>
                <a:lnTo>
                  <a:pt x="350" y="736"/>
                </a:lnTo>
                <a:lnTo>
                  <a:pt x="350" y="736"/>
                </a:lnTo>
                <a:lnTo>
                  <a:pt x="348" y="740"/>
                </a:lnTo>
                <a:lnTo>
                  <a:pt x="346" y="740"/>
                </a:lnTo>
                <a:lnTo>
                  <a:pt x="336" y="742"/>
                </a:lnTo>
                <a:lnTo>
                  <a:pt x="328" y="726"/>
                </a:lnTo>
                <a:lnTo>
                  <a:pt x="318" y="726"/>
                </a:lnTo>
                <a:lnTo>
                  <a:pt x="314" y="740"/>
                </a:lnTo>
                <a:lnTo>
                  <a:pt x="302" y="740"/>
                </a:lnTo>
                <a:lnTo>
                  <a:pt x="292" y="722"/>
                </a:lnTo>
                <a:lnTo>
                  <a:pt x="290" y="700"/>
                </a:lnTo>
                <a:lnTo>
                  <a:pt x="252" y="702"/>
                </a:lnTo>
                <a:lnTo>
                  <a:pt x="246" y="716"/>
                </a:lnTo>
                <a:lnTo>
                  <a:pt x="218" y="722"/>
                </a:lnTo>
                <a:lnTo>
                  <a:pt x="230" y="746"/>
                </a:lnTo>
                <a:lnTo>
                  <a:pt x="250" y="744"/>
                </a:lnTo>
                <a:lnTo>
                  <a:pt x="252" y="754"/>
                </a:lnTo>
                <a:lnTo>
                  <a:pt x="232" y="764"/>
                </a:lnTo>
                <a:lnTo>
                  <a:pt x="238" y="774"/>
                </a:lnTo>
                <a:lnTo>
                  <a:pt x="226" y="782"/>
                </a:lnTo>
                <a:lnTo>
                  <a:pt x="226" y="782"/>
                </a:lnTo>
                <a:lnTo>
                  <a:pt x="220" y="780"/>
                </a:lnTo>
                <a:lnTo>
                  <a:pt x="204" y="778"/>
                </a:lnTo>
                <a:lnTo>
                  <a:pt x="204" y="778"/>
                </a:lnTo>
                <a:lnTo>
                  <a:pt x="194" y="778"/>
                </a:lnTo>
                <a:lnTo>
                  <a:pt x="184" y="774"/>
                </a:lnTo>
                <a:lnTo>
                  <a:pt x="162" y="764"/>
                </a:lnTo>
                <a:lnTo>
                  <a:pt x="162" y="764"/>
                </a:lnTo>
                <a:lnTo>
                  <a:pt x="156" y="762"/>
                </a:lnTo>
                <a:lnTo>
                  <a:pt x="148" y="764"/>
                </a:lnTo>
                <a:lnTo>
                  <a:pt x="136" y="768"/>
                </a:lnTo>
                <a:lnTo>
                  <a:pt x="122" y="776"/>
                </a:lnTo>
                <a:lnTo>
                  <a:pt x="110" y="780"/>
                </a:lnTo>
                <a:lnTo>
                  <a:pt x="110" y="780"/>
                </a:lnTo>
                <a:lnTo>
                  <a:pt x="98" y="782"/>
                </a:lnTo>
                <a:lnTo>
                  <a:pt x="90" y="782"/>
                </a:lnTo>
                <a:lnTo>
                  <a:pt x="82" y="778"/>
                </a:lnTo>
                <a:lnTo>
                  <a:pt x="76" y="774"/>
                </a:lnTo>
                <a:lnTo>
                  <a:pt x="76" y="774"/>
                </a:lnTo>
                <a:lnTo>
                  <a:pt x="72" y="774"/>
                </a:lnTo>
                <a:lnTo>
                  <a:pt x="68" y="774"/>
                </a:lnTo>
                <a:lnTo>
                  <a:pt x="58" y="778"/>
                </a:lnTo>
                <a:lnTo>
                  <a:pt x="48" y="788"/>
                </a:lnTo>
                <a:lnTo>
                  <a:pt x="40" y="782"/>
                </a:lnTo>
                <a:lnTo>
                  <a:pt x="60" y="754"/>
                </a:lnTo>
                <a:lnTo>
                  <a:pt x="44" y="744"/>
                </a:lnTo>
                <a:lnTo>
                  <a:pt x="18" y="766"/>
                </a:lnTo>
                <a:lnTo>
                  <a:pt x="18" y="766"/>
                </a:lnTo>
                <a:lnTo>
                  <a:pt x="8" y="748"/>
                </a:lnTo>
                <a:lnTo>
                  <a:pt x="4" y="736"/>
                </a:lnTo>
                <a:lnTo>
                  <a:pt x="4" y="730"/>
                </a:lnTo>
                <a:lnTo>
                  <a:pt x="4" y="722"/>
                </a:lnTo>
                <a:lnTo>
                  <a:pt x="4" y="722"/>
                </a:lnTo>
                <a:lnTo>
                  <a:pt x="4" y="708"/>
                </a:lnTo>
                <a:lnTo>
                  <a:pt x="0" y="692"/>
                </a:lnTo>
                <a:lnTo>
                  <a:pt x="0" y="692"/>
                </a:lnTo>
                <a:lnTo>
                  <a:pt x="0" y="686"/>
                </a:lnTo>
                <a:lnTo>
                  <a:pt x="2" y="682"/>
                </a:lnTo>
                <a:lnTo>
                  <a:pt x="6" y="670"/>
                </a:lnTo>
                <a:lnTo>
                  <a:pt x="18" y="644"/>
                </a:lnTo>
                <a:lnTo>
                  <a:pt x="18" y="644"/>
                </a:lnTo>
                <a:lnTo>
                  <a:pt x="22" y="634"/>
                </a:lnTo>
                <a:lnTo>
                  <a:pt x="22" y="626"/>
                </a:lnTo>
                <a:lnTo>
                  <a:pt x="22" y="618"/>
                </a:lnTo>
                <a:lnTo>
                  <a:pt x="18" y="610"/>
                </a:lnTo>
                <a:lnTo>
                  <a:pt x="18" y="610"/>
                </a:lnTo>
                <a:lnTo>
                  <a:pt x="16" y="602"/>
                </a:lnTo>
                <a:lnTo>
                  <a:pt x="18" y="594"/>
                </a:lnTo>
                <a:lnTo>
                  <a:pt x="22" y="584"/>
                </a:lnTo>
                <a:lnTo>
                  <a:pt x="22" y="584"/>
                </a:lnTo>
                <a:lnTo>
                  <a:pt x="52" y="528"/>
                </a:lnTo>
                <a:lnTo>
                  <a:pt x="52" y="528"/>
                </a:lnTo>
                <a:lnTo>
                  <a:pt x="56" y="518"/>
                </a:lnTo>
                <a:lnTo>
                  <a:pt x="56" y="512"/>
                </a:lnTo>
                <a:lnTo>
                  <a:pt x="56" y="508"/>
                </a:lnTo>
                <a:lnTo>
                  <a:pt x="56" y="508"/>
                </a:lnTo>
                <a:lnTo>
                  <a:pt x="56" y="502"/>
                </a:lnTo>
                <a:lnTo>
                  <a:pt x="56" y="496"/>
                </a:lnTo>
                <a:lnTo>
                  <a:pt x="60" y="482"/>
                </a:lnTo>
                <a:lnTo>
                  <a:pt x="68" y="460"/>
                </a:lnTo>
                <a:lnTo>
                  <a:pt x="68" y="460"/>
                </a:lnTo>
                <a:lnTo>
                  <a:pt x="76" y="448"/>
                </a:lnTo>
                <a:lnTo>
                  <a:pt x="80" y="438"/>
                </a:lnTo>
                <a:lnTo>
                  <a:pt x="80" y="426"/>
                </a:lnTo>
                <a:lnTo>
                  <a:pt x="80" y="426"/>
                </a:lnTo>
                <a:lnTo>
                  <a:pt x="82" y="416"/>
                </a:lnTo>
                <a:lnTo>
                  <a:pt x="86" y="410"/>
                </a:lnTo>
                <a:lnTo>
                  <a:pt x="96" y="400"/>
                </a:lnTo>
                <a:lnTo>
                  <a:pt x="96" y="400"/>
                </a:lnTo>
                <a:lnTo>
                  <a:pt x="102" y="390"/>
                </a:lnTo>
                <a:lnTo>
                  <a:pt x="106" y="380"/>
                </a:lnTo>
                <a:lnTo>
                  <a:pt x="106" y="380"/>
                </a:lnTo>
                <a:lnTo>
                  <a:pt x="110" y="374"/>
                </a:lnTo>
                <a:lnTo>
                  <a:pt x="116" y="370"/>
                </a:lnTo>
                <a:lnTo>
                  <a:pt x="130" y="362"/>
                </a:lnTo>
                <a:lnTo>
                  <a:pt x="130" y="362"/>
                </a:lnTo>
                <a:lnTo>
                  <a:pt x="136" y="358"/>
                </a:lnTo>
                <a:lnTo>
                  <a:pt x="140" y="352"/>
                </a:lnTo>
                <a:lnTo>
                  <a:pt x="144" y="346"/>
                </a:lnTo>
                <a:lnTo>
                  <a:pt x="144" y="342"/>
                </a:lnTo>
                <a:lnTo>
                  <a:pt x="144" y="342"/>
                </a:lnTo>
                <a:lnTo>
                  <a:pt x="146" y="336"/>
                </a:lnTo>
                <a:lnTo>
                  <a:pt x="150" y="330"/>
                </a:lnTo>
                <a:lnTo>
                  <a:pt x="156" y="318"/>
                </a:lnTo>
                <a:lnTo>
                  <a:pt x="156" y="318"/>
                </a:lnTo>
                <a:lnTo>
                  <a:pt x="176" y="298"/>
                </a:lnTo>
                <a:lnTo>
                  <a:pt x="176" y="298"/>
                </a:lnTo>
                <a:lnTo>
                  <a:pt x="192" y="274"/>
                </a:lnTo>
                <a:lnTo>
                  <a:pt x="208" y="250"/>
                </a:lnTo>
                <a:lnTo>
                  <a:pt x="208" y="250"/>
                </a:lnTo>
                <a:lnTo>
                  <a:pt x="216" y="238"/>
                </a:lnTo>
                <a:lnTo>
                  <a:pt x="218" y="226"/>
                </a:lnTo>
                <a:lnTo>
                  <a:pt x="218" y="226"/>
                </a:lnTo>
                <a:lnTo>
                  <a:pt x="220" y="218"/>
                </a:lnTo>
                <a:lnTo>
                  <a:pt x="222" y="210"/>
                </a:lnTo>
                <a:lnTo>
                  <a:pt x="234" y="194"/>
                </a:lnTo>
                <a:lnTo>
                  <a:pt x="234" y="194"/>
                </a:lnTo>
                <a:lnTo>
                  <a:pt x="240" y="186"/>
                </a:lnTo>
                <a:lnTo>
                  <a:pt x="242" y="180"/>
                </a:lnTo>
                <a:lnTo>
                  <a:pt x="242" y="170"/>
                </a:lnTo>
                <a:lnTo>
                  <a:pt x="242" y="170"/>
                </a:lnTo>
                <a:lnTo>
                  <a:pt x="242" y="158"/>
                </a:lnTo>
                <a:lnTo>
                  <a:pt x="246" y="144"/>
                </a:lnTo>
                <a:lnTo>
                  <a:pt x="246" y="144"/>
                </a:lnTo>
                <a:lnTo>
                  <a:pt x="246" y="138"/>
                </a:lnTo>
                <a:lnTo>
                  <a:pt x="244" y="134"/>
                </a:lnTo>
                <a:lnTo>
                  <a:pt x="238" y="126"/>
                </a:lnTo>
                <a:lnTo>
                  <a:pt x="238" y="126"/>
                </a:lnTo>
                <a:lnTo>
                  <a:pt x="234" y="118"/>
                </a:lnTo>
                <a:lnTo>
                  <a:pt x="232" y="108"/>
                </a:lnTo>
                <a:lnTo>
                  <a:pt x="232" y="108"/>
                </a:lnTo>
                <a:lnTo>
                  <a:pt x="228" y="54"/>
                </a:lnTo>
                <a:lnTo>
                  <a:pt x="262" y="64"/>
                </a:lnTo>
                <a:lnTo>
                  <a:pt x="270" y="82"/>
                </a:lnTo>
                <a:lnTo>
                  <a:pt x="284" y="80"/>
                </a:lnTo>
                <a:lnTo>
                  <a:pt x="284" y="68"/>
                </a:lnTo>
                <a:lnTo>
                  <a:pt x="278" y="50"/>
                </a:lnTo>
                <a:lnTo>
                  <a:pt x="292" y="44"/>
                </a:lnTo>
                <a:lnTo>
                  <a:pt x="302" y="68"/>
                </a:lnTo>
                <a:lnTo>
                  <a:pt x="332" y="78"/>
                </a:lnTo>
                <a:lnTo>
                  <a:pt x="330" y="94"/>
                </a:lnTo>
                <a:lnTo>
                  <a:pt x="320" y="94"/>
                </a:lnTo>
                <a:lnTo>
                  <a:pt x="310" y="122"/>
                </a:lnTo>
                <a:lnTo>
                  <a:pt x="320" y="130"/>
                </a:lnTo>
                <a:lnTo>
                  <a:pt x="330" y="114"/>
                </a:lnTo>
                <a:lnTo>
                  <a:pt x="342" y="114"/>
                </a:lnTo>
                <a:lnTo>
                  <a:pt x="348" y="98"/>
                </a:lnTo>
                <a:lnTo>
                  <a:pt x="346" y="82"/>
                </a:lnTo>
                <a:lnTo>
                  <a:pt x="358" y="80"/>
                </a:lnTo>
                <a:lnTo>
                  <a:pt x="364" y="92"/>
                </a:lnTo>
                <a:lnTo>
                  <a:pt x="378" y="88"/>
                </a:lnTo>
                <a:lnTo>
                  <a:pt x="378" y="66"/>
                </a:lnTo>
                <a:lnTo>
                  <a:pt x="396" y="74"/>
                </a:lnTo>
                <a:lnTo>
                  <a:pt x="420" y="68"/>
                </a:lnTo>
                <a:lnTo>
                  <a:pt x="430" y="48"/>
                </a:lnTo>
                <a:lnTo>
                  <a:pt x="450" y="46"/>
                </a:lnTo>
                <a:lnTo>
                  <a:pt x="448" y="20"/>
                </a:lnTo>
                <a:lnTo>
                  <a:pt x="440" y="18"/>
                </a:lnTo>
                <a:lnTo>
                  <a:pt x="444" y="6"/>
                </a:lnTo>
                <a:lnTo>
                  <a:pt x="470" y="8"/>
                </a:lnTo>
                <a:lnTo>
                  <a:pt x="478" y="18"/>
                </a:lnTo>
                <a:lnTo>
                  <a:pt x="490" y="16"/>
                </a:lnTo>
                <a:lnTo>
                  <a:pt x="498" y="0"/>
                </a:lnTo>
                <a:lnTo>
                  <a:pt x="506" y="0"/>
                </a:lnTo>
                <a:lnTo>
                  <a:pt x="506" y="32"/>
                </a:lnTo>
                <a:lnTo>
                  <a:pt x="516" y="32"/>
                </a:lnTo>
                <a:lnTo>
                  <a:pt x="516" y="24"/>
                </a:lnTo>
                <a:lnTo>
                  <a:pt x="532" y="22"/>
                </a:lnTo>
                <a:lnTo>
                  <a:pt x="536" y="32"/>
                </a:lnTo>
                <a:lnTo>
                  <a:pt x="546" y="32"/>
                </a:lnTo>
                <a:lnTo>
                  <a:pt x="548" y="20"/>
                </a:lnTo>
                <a:lnTo>
                  <a:pt x="562" y="20"/>
                </a:lnTo>
                <a:lnTo>
                  <a:pt x="566" y="46"/>
                </a:lnTo>
                <a:lnTo>
                  <a:pt x="558" y="68"/>
                </a:lnTo>
                <a:lnTo>
                  <a:pt x="564" y="72"/>
                </a:lnTo>
                <a:lnTo>
                  <a:pt x="576" y="64"/>
                </a:lnTo>
                <a:lnTo>
                  <a:pt x="582" y="68"/>
                </a:lnTo>
                <a:lnTo>
                  <a:pt x="582" y="88"/>
                </a:lnTo>
                <a:lnTo>
                  <a:pt x="592" y="94"/>
                </a:lnTo>
                <a:lnTo>
                  <a:pt x="606" y="88"/>
                </a:lnTo>
                <a:lnTo>
                  <a:pt x="606" y="78"/>
                </a:lnTo>
                <a:lnTo>
                  <a:pt x="622" y="68"/>
                </a:lnTo>
                <a:lnTo>
                  <a:pt x="634" y="78"/>
                </a:lnTo>
                <a:lnTo>
                  <a:pt x="634" y="108"/>
                </a:lnTo>
                <a:lnTo>
                  <a:pt x="642" y="130"/>
                </a:lnTo>
                <a:lnTo>
                  <a:pt x="632" y="140"/>
                </a:lnTo>
                <a:lnTo>
                  <a:pt x="642" y="160"/>
                </a:lnTo>
                <a:lnTo>
                  <a:pt x="636" y="174"/>
                </a:lnTo>
                <a:lnTo>
                  <a:pt x="640" y="200"/>
                </a:lnTo>
                <a:lnTo>
                  <a:pt x="664" y="220"/>
                </a:lnTo>
                <a:lnTo>
                  <a:pt x="662" y="232"/>
                </a:lnTo>
                <a:lnTo>
                  <a:pt x="674" y="266"/>
                </a:lnTo>
                <a:lnTo>
                  <a:pt x="708" y="286"/>
                </a:lnTo>
                <a:lnTo>
                  <a:pt x="710" y="326"/>
                </a:lnTo>
                <a:lnTo>
                  <a:pt x="708" y="348"/>
                </a:lnTo>
                <a:lnTo>
                  <a:pt x="724" y="360"/>
                </a:lnTo>
                <a:lnTo>
                  <a:pt x="726" y="380"/>
                </a:lnTo>
                <a:lnTo>
                  <a:pt x="712" y="390"/>
                </a:lnTo>
                <a:lnTo>
                  <a:pt x="706" y="378"/>
                </a:lnTo>
                <a:lnTo>
                  <a:pt x="696" y="380"/>
                </a:lnTo>
                <a:lnTo>
                  <a:pt x="694" y="390"/>
                </a:lnTo>
                <a:lnTo>
                  <a:pt x="684" y="388"/>
                </a:lnTo>
                <a:lnTo>
                  <a:pt x="682" y="380"/>
                </a:lnTo>
                <a:lnTo>
                  <a:pt x="664" y="376"/>
                </a:lnTo>
                <a:lnTo>
                  <a:pt x="656" y="386"/>
                </a:lnTo>
                <a:lnTo>
                  <a:pt x="672" y="428"/>
                </a:lnTo>
                <a:lnTo>
                  <a:pt x="662" y="430"/>
                </a:lnTo>
                <a:lnTo>
                  <a:pt x="666" y="440"/>
                </a:lnTo>
                <a:lnTo>
                  <a:pt x="640" y="452"/>
                </a:lnTo>
                <a:lnTo>
                  <a:pt x="634" y="446"/>
                </a:lnTo>
                <a:lnTo>
                  <a:pt x="616" y="458"/>
                </a:lnTo>
                <a:lnTo>
                  <a:pt x="614" y="472"/>
                </a:lnTo>
                <a:lnTo>
                  <a:pt x="586" y="488"/>
                </a:lnTo>
                <a:lnTo>
                  <a:pt x="596" y="510"/>
                </a:lnTo>
                <a:lnTo>
                  <a:pt x="604" y="510"/>
                </a:lnTo>
                <a:lnTo>
                  <a:pt x="618" y="538"/>
                </a:lnTo>
                <a:lnTo>
                  <a:pt x="616" y="576"/>
                </a:lnTo>
                <a:lnTo>
                  <a:pt x="628" y="586"/>
                </a:lnTo>
                <a:lnTo>
                  <a:pt x="636" y="632"/>
                </a:lnTo>
                <a:lnTo>
                  <a:pt x="626" y="650"/>
                </a:lnTo>
                <a:lnTo>
                  <a:pt x="626" y="668"/>
                </a:lnTo>
                <a:lnTo>
                  <a:pt x="636" y="674"/>
                </a:lnTo>
                <a:lnTo>
                  <a:pt x="636" y="684"/>
                </a:lnTo>
                <a:lnTo>
                  <a:pt x="624" y="694"/>
                </a:lnTo>
                <a:lnTo>
                  <a:pt x="624" y="706"/>
                </a:lnTo>
                <a:lnTo>
                  <a:pt x="634" y="710"/>
                </a:lnTo>
                <a:lnTo>
                  <a:pt x="638" y="724"/>
                </a:lnTo>
                <a:lnTo>
                  <a:pt x="620" y="748"/>
                </a:lnTo>
                <a:lnTo>
                  <a:pt x="610" y="730"/>
                </a:lnTo>
                <a:lnTo>
                  <a:pt x="594" y="730"/>
                </a:lnTo>
                <a:lnTo>
                  <a:pt x="584" y="742"/>
                </a:lnTo>
                <a:lnTo>
                  <a:pt x="562" y="734"/>
                </a:lnTo>
                <a:lnTo>
                  <a:pt x="556" y="746"/>
                </a:lnTo>
                <a:lnTo>
                  <a:pt x="530" y="758"/>
                </a:lnTo>
                <a:lnTo>
                  <a:pt x="518" y="754"/>
                </a:lnTo>
                <a:lnTo>
                  <a:pt x="500" y="774"/>
                </a:lnTo>
                <a:lnTo>
                  <a:pt x="498" y="774"/>
                </a:lnTo>
                <a:close/>
              </a:path>
            </a:pathLst>
          </a:custGeom>
          <a:solidFill>
            <a:srgbClr val="EDE6E1"/>
          </a:solidFill>
          <a:ln w="12700" cap="flat">
            <a:solidFill>
              <a:srgbClr val="D9CEC9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>
              <a:solidFill>
                <a:prstClr val="black"/>
              </a:solidFill>
              <a:latin typeface="EnBW DIN Pro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E61C599E-A65E-6FCA-B601-D25902DC082C}"/>
              </a:ext>
            </a:extLst>
          </p:cNvPr>
          <p:cNvSpPr/>
          <p:nvPr/>
        </p:nvSpPr>
        <p:spPr bwMode="gray">
          <a:xfrm>
            <a:off x="4619414" y="3595119"/>
            <a:ext cx="144000" cy="144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4A36AE2-750C-A002-A688-C04C9CEC524D}"/>
              </a:ext>
            </a:extLst>
          </p:cNvPr>
          <p:cNvSpPr txBox="1"/>
          <p:nvPr/>
        </p:nvSpPr>
        <p:spPr bwMode="gray">
          <a:xfrm>
            <a:off x="4821362" y="3535131"/>
            <a:ext cx="960199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600" dirty="0">
                <a:cs typeface="+mj-cs"/>
              </a:rPr>
              <a:t>Durlangen</a:t>
            </a:r>
          </a:p>
        </p:txBody>
      </p:sp>
      <p:pic>
        <p:nvPicPr>
          <p:cNvPr id="8" name="Bild 1" descr="Gutheil_NetCom_Email_Anhang_2">
            <a:extLst>
              <a:ext uri="{FF2B5EF4-FFF2-40B4-BE49-F238E27FC236}">
                <a16:creationId xmlns:a16="http://schemas.microsoft.com/office/drawing/2014/main" id="{C3616B76-58DD-29A5-CC2D-12817527A2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296" y="1890929"/>
            <a:ext cx="5249297" cy="159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2730BC9E-F878-662E-A628-65AD62C55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 vert="horz"/>
          <a:lstStyle/>
          <a:p>
            <a:r>
              <a:rPr lang="de-DE" dirty="0">
                <a:solidFill>
                  <a:schemeClr val="tx2"/>
                </a:solidFill>
              </a:rPr>
              <a:t>Vertriebspartner der NetCom BW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für Komplett-Berat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754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85C04F1-324F-C8BD-E0A3-89249A387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6069012" cy="1225104"/>
          </a:xfrm>
        </p:spPr>
        <p:txBody>
          <a:bodyPr/>
          <a:lstStyle/>
          <a:p>
            <a:r>
              <a:rPr lang="de-DE" dirty="0"/>
              <a:t>NetCom BW – Ihr starker Partner in der Reg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6A2E8C-D1F8-82CE-E8F7-ED1C262038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637904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52B34A2-C55D-7372-A14F-DBC5090FD91B}"/>
              </a:ext>
            </a:extLst>
          </p:cNvPr>
          <p:cNvCxnSpPr>
            <a:cxnSpLocks/>
          </p:cNvCxnSpPr>
          <p:nvPr/>
        </p:nvCxnSpPr>
        <p:spPr>
          <a:xfrm>
            <a:off x="3431704" y="1881188"/>
            <a:ext cx="0" cy="176710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B9DB9F6D-E4E1-EA05-73B2-12A60ECB7CF1}"/>
              </a:ext>
            </a:extLst>
          </p:cNvPr>
          <p:cNvCxnSpPr>
            <a:cxnSpLocks/>
          </p:cNvCxnSpPr>
          <p:nvPr/>
        </p:nvCxnSpPr>
        <p:spPr>
          <a:xfrm>
            <a:off x="407988" y="4011179"/>
            <a:ext cx="66240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2C9D515-024C-3F62-ACEE-C66D5AE2CCB2}"/>
              </a:ext>
            </a:extLst>
          </p:cNvPr>
          <p:cNvSpPr/>
          <p:nvPr/>
        </p:nvSpPr>
        <p:spPr>
          <a:xfrm>
            <a:off x="3000000" y="3645000"/>
            <a:ext cx="864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38AA38D2-6EBF-9C08-18B8-D18B39CC672D}"/>
              </a:ext>
            </a:extLst>
          </p:cNvPr>
          <p:cNvGrpSpPr/>
          <p:nvPr/>
        </p:nvGrpSpPr>
        <p:grpSpPr>
          <a:xfrm>
            <a:off x="7933754" y="1845000"/>
            <a:ext cx="6007219" cy="4568680"/>
            <a:chOff x="4182283" y="3113659"/>
            <a:chExt cx="2840434" cy="2160240"/>
          </a:xfrm>
        </p:grpSpPr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5A4C8AD4-F3D6-5D0C-97F2-87E589133BE5}"/>
                </a:ext>
              </a:extLst>
            </p:cNvPr>
            <p:cNvSpPr/>
            <p:nvPr/>
          </p:nvSpPr>
          <p:spPr>
            <a:xfrm>
              <a:off x="4781285" y="4906245"/>
              <a:ext cx="386110" cy="216026"/>
            </a:xfrm>
            <a:custGeom>
              <a:avLst/>
              <a:gdLst>
                <a:gd name="connsiteX0" fmla="*/ 371111 w 372315"/>
                <a:gd name="connsiteY0" fmla="*/ 178199 h 208308"/>
                <a:gd name="connsiteX1" fmla="*/ 350698 w 372315"/>
                <a:gd name="connsiteY1" fmla="*/ 171564 h 208308"/>
                <a:gd name="connsiteX2" fmla="*/ 350188 w 372315"/>
                <a:gd name="connsiteY2" fmla="*/ 171820 h 208308"/>
                <a:gd name="connsiteX3" fmla="*/ 348019 w 372315"/>
                <a:gd name="connsiteY3" fmla="*/ 172202 h 208308"/>
                <a:gd name="connsiteX4" fmla="*/ 348274 w 372315"/>
                <a:gd name="connsiteY4" fmla="*/ 170289 h 208308"/>
                <a:gd name="connsiteX5" fmla="*/ 348274 w 372315"/>
                <a:gd name="connsiteY5" fmla="*/ 165313 h 208308"/>
                <a:gd name="connsiteX6" fmla="*/ 347764 w 372315"/>
                <a:gd name="connsiteY6" fmla="*/ 164675 h 208308"/>
                <a:gd name="connsiteX7" fmla="*/ 337302 w 372315"/>
                <a:gd name="connsiteY7" fmla="*/ 156765 h 208308"/>
                <a:gd name="connsiteX8" fmla="*/ 336919 w 372315"/>
                <a:gd name="connsiteY8" fmla="*/ 156637 h 208308"/>
                <a:gd name="connsiteX9" fmla="*/ 331943 w 372315"/>
                <a:gd name="connsiteY9" fmla="*/ 155361 h 208308"/>
                <a:gd name="connsiteX10" fmla="*/ 320461 w 372315"/>
                <a:gd name="connsiteY10" fmla="*/ 150896 h 208308"/>
                <a:gd name="connsiteX11" fmla="*/ 314847 w 372315"/>
                <a:gd name="connsiteY11" fmla="*/ 149875 h 208308"/>
                <a:gd name="connsiteX12" fmla="*/ 303747 w 372315"/>
                <a:gd name="connsiteY12" fmla="*/ 147068 h 208308"/>
                <a:gd name="connsiteX13" fmla="*/ 296730 w 372315"/>
                <a:gd name="connsiteY13" fmla="*/ 143751 h 208308"/>
                <a:gd name="connsiteX14" fmla="*/ 296602 w 372315"/>
                <a:gd name="connsiteY14" fmla="*/ 143496 h 208308"/>
                <a:gd name="connsiteX15" fmla="*/ 293923 w 372315"/>
                <a:gd name="connsiteY15" fmla="*/ 142858 h 208308"/>
                <a:gd name="connsiteX16" fmla="*/ 292647 w 372315"/>
                <a:gd name="connsiteY16" fmla="*/ 142858 h 208308"/>
                <a:gd name="connsiteX17" fmla="*/ 290861 w 372315"/>
                <a:gd name="connsiteY17" fmla="*/ 136479 h 208308"/>
                <a:gd name="connsiteX18" fmla="*/ 284099 w 372315"/>
                <a:gd name="connsiteY18" fmla="*/ 121296 h 208308"/>
                <a:gd name="connsiteX19" fmla="*/ 282058 w 372315"/>
                <a:gd name="connsiteY19" fmla="*/ 119000 h 208308"/>
                <a:gd name="connsiteX20" fmla="*/ 263941 w 372315"/>
                <a:gd name="connsiteY20" fmla="*/ 107262 h 208308"/>
                <a:gd name="connsiteX21" fmla="*/ 251055 w 372315"/>
                <a:gd name="connsiteY21" fmla="*/ 102414 h 208308"/>
                <a:gd name="connsiteX22" fmla="*/ 231407 w 372315"/>
                <a:gd name="connsiteY22" fmla="*/ 97438 h 208308"/>
                <a:gd name="connsiteX23" fmla="*/ 196832 w 372315"/>
                <a:gd name="connsiteY23" fmla="*/ 92207 h 208308"/>
                <a:gd name="connsiteX24" fmla="*/ 190070 w 372315"/>
                <a:gd name="connsiteY24" fmla="*/ 86338 h 208308"/>
                <a:gd name="connsiteX25" fmla="*/ 183563 w 372315"/>
                <a:gd name="connsiteY25" fmla="*/ 80470 h 208308"/>
                <a:gd name="connsiteX26" fmla="*/ 167743 w 372315"/>
                <a:gd name="connsiteY26" fmla="*/ 66053 h 208308"/>
                <a:gd name="connsiteX27" fmla="*/ 167105 w 372315"/>
                <a:gd name="connsiteY27" fmla="*/ 65415 h 208308"/>
                <a:gd name="connsiteX28" fmla="*/ 152943 w 372315"/>
                <a:gd name="connsiteY28" fmla="*/ 45894 h 208308"/>
                <a:gd name="connsiteX29" fmla="*/ 148478 w 372315"/>
                <a:gd name="connsiteY29" fmla="*/ 41684 h 208308"/>
                <a:gd name="connsiteX30" fmla="*/ 134061 w 372315"/>
                <a:gd name="connsiteY30" fmla="*/ 31095 h 208308"/>
                <a:gd name="connsiteX31" fmla="*/ 117220 w 372315"/>
                <a:gd name="connsiteY31" fmla="*/ 17571 h 208308"/>
                <a:gd name="connsiteX32" fmla="*/ 104716 w 372315"/>
                <a:gd name="connsiteY32" fmla="*/ 7492 h 208308"/>
                <a:gd name="connsiteX33" fmla="*/ 100634 w 372315"/>
                <a:gd name="connsiteY33" fmla="*/ 4812 h 208308"/>
                <a:gd name="connsiteX34" fmla="*/ 87237 w 372315"/>
                <a:gd name="connsiteY34" fmla="*/ 92 h 208308"/>
                <a:gd name="connsiteX35" fmla="*/ 81624 w 372315"/>
                <a:gd name="connsiteY35" fmla="*/ 3154 h 208308"/>
                <a:gd name="connsiteX36" fmla="*/ 82900 w 372315"/>
                <a:gd name="connsiteY36" fmla="*/ 7619 h 208308"/>
                <a:gd name="connsiteX37" fmla="*/ 86855 w 372315"/>
                <a:gd name="connsiteY37" fmla="*/ 13616 h 208308"/>
                <a:gd name="connsiteX38" fmla="*/ 95913 w 372315"/>
                <a:gd name="connsiteY38" fmla="*/ 24078 h 208308"/>
                <a:gd name="connsiteX39" fmla="*/ 106120 w 372315"/>
                <a:gd name="connsiteY39" fmla="*/ 31095 h 208308"/>
                <a:gd name="connsiteX40" fmla="*/ 120409 w 372315"/>
                <a:gd name="connsiteY40" fmla="*/ 40153 h 208308"/>
                <a:gd name="connsiteX41" fmla="*/ 140567 w 372315"/>
                <a:gd name="connsiteY41" fmla="*/ 62480 h 208308"/>
                <a:gd name="connsiteX42" fmla="*/ 142736 w 372315"/>
                <a:gd name="connsiteY42" fmla="*/ 67839 h 208308"/>
                <a:gd name="connsiteX43" fmla="*/ 143630 w 372315"/>
                <a:gd name="connsiteY43" fmla="*/ 69753 h 208308"/>
                <a:gd name="connsiteX44" fmla="*/ 140695 w 372315"/>
                <a:gd name="connsiteY44" fmla="*/ 85318 h 208308"/>
                <a:gd name="connsiteX45" fmla="*/ 129850 w 372315"/>
                <a:gd name="connsiteY45" fmla="*/ 84297 h 208308"/>
                <a:gd name="connsiteX46" fmla="*/ 124747 w 372315"/>
                <a:gd name="connsiteY46" fmla="*/ 84425 h 208308"/>
                <a:gd name="connsiteX47" fmla="*/ 124492 w 372315"/>
                <a:gd name="connsiteY47" fmla="*/ 84425 h 208308"/>
                <a:gd name="connsiteX48" fmla="*/ 111478 w 372315"/>
                <a:gd name="connsiteY48" fmla="*/ 78173 h 208308"/>
                <a:gd name="connsiteX49" fmla="*/ 94893 w 372315"/>
                <a:gd name="connsiteY49" fmla="*/ 64011 h 208308"/>
                <a:gd name="connsiteX50" fmla="*/ 71672 w 372315"/>
                <a:gd name="connsiteY50" fmla="*/ 52529 h 208308"/>
                <a:gd name="connsiteX51" fmla="*/ 71290 w 372315"/>
                <a:gd name="connsiteY51" fmla="*/ 52274 h 208308"/>
                <a:gd name="connsiteX52" fmla="*/ 59297 w 372315"/>
                <a:gd name="connsiteY52" fmla="*/ 48701 h 208308"/>
                <a:gd name="connsiteX53" fmla="*/ 58148 w 372315"/>
                <a:gd name="connsiteY53" fmla="*/ 50360 h 208308"/>
                <a:gd name="connsiteX54" fmla="*/ 60572 w 372315"/>
                <a:gd name="connsiteY54" fmla="*/ 54315 h 208308"/>
                <a:gd name="connsiteX55" fmla="*/ 61338 w 372315"/>
                <a:gd name="connsiteY55" fmla="*/ 54953 h 208308"/>
                <a:gd name="connsiteX56" fmla="*/ 62997 w 372315"/>
                <a:gd name="connsiteY56" fmla="*/ 56229 h 208308"/>
                <a:gd name="connsiteX57" fmla="*/ 63890 w 372315"/>
                <a:gd name="connsiteY57" fmla="*/ 56867 h 208308"/>
                <a:gd name="connsiteX58" fmla="*/ 63634 w 372315"/>
                <a:gd name="connsiteY58" fmla="*/ 57249 h 208308"/>
                <a:gd name="connsiteX59" fmla="*/ 59552 w 372315"/>
                <a:gd name="connsiteY59" fmla="*/ 56994 h 208308"/>
                <a:gd name="connsiteX60" fmla="*/ 58404 w 372315"/>
                <a:gd name="connsiteY60" fmla="*/ 55973 h 208308"/>
                <a:gd name="connsiteX61" fmla="*/ 56617 w 372315"/>
                <a:gd name="connsiteY61" fmla="*/ 54570 h 208308"/>
                <a:gd name="connsiteX62" fmla="*/ 53811 w 372315"/>
                <a:gd name="connsiteY62" fmla="*/ 52274 h 208308"/>
                <a:gd name="connsiteX63" fmla="*/ 47431 w 372315"/>
                <a:gd name="connsiteY63" fmla="*/ 48319 h 208308"/>
                <a:gd name="connsiteX64" fmla="*/ 46921 w 372315"/>
                <a:gd name="connsiteY64" fmla="*/ 48319 h 208308"/>
                <a:gd name="connsiteX65" fmla="*/ 40032 w 372315"/>
                <a:gd name="connsiteY65" fmla="*/ 50232 h 208308"/>
                <a:gd name="connsiteX66" fmla="*/ 42966 w 372315"/>
                <a:gd name="connsiteY66" fmla="*/ 56867 h 208308"/>
                <a:gd name="connsiteX67" fmla="*/ 46921 w 372315"/>
                <a:gd name="connsiteY67" fmla="*/ 59929 h 208308"/>
                <a:gd name="connsiteX68" fmla="*/ 56490 w 372315"/>
                <a:gd name="connsiteY68" fmla="*/ 66435 h 208308"/>
                <a:gd name="connsiteX69" fmla="*/ 60955 w 372315"/>
                <a:gd name="connsiteY69" fmla="*/ 70646 h 208308"/>
                <a:gd name="connsiteX70" fmla="*/ 58276 w 372315"/>
                <a:gd name="connsiteY70" fmla="*/ 77152 h 208308"/>
                <a:gd name="connsiteX71" fmla="*/ 47431 w 372315"/>
                <a:gd name="connsiteY71" fmla="*/ 84935 h 208308"/>
                <a:gd name="connsiteX72" fmla="*/ 41690 w 372315"/>
                <a:gd name="connsiteY72" fmla="*/ 87359 h 208308"/>
                <a:gd name="connsiteX73" fmla="*/ 24466 w 372315"/>
                <a:gd name="connsiteY73" fmla="*/ 95269 h 208308"/>
                <a:gd name="connsiteX74" fmla="*/ 18470 w 372315"/>
                <a:gd name="connsiteY74" fmla="*/ 95780 h 208308"/>
                <a:gd name="connsiteX75" fmla="*/ 6605 w 372315"/>
                <a:gd name="connsiteY75" fmla="*/ 93738 h 208308"/>
                <a:gd name="connsiteX76" fmla="*/ 1884 w 372315"/>
                <a:gd name="connsiteY76" fmla="*/ 92973 h 208308"/>
                <a:gd name="connsiteX77" fmla="*/ 1884 w 372315"/>
                <a:gd name="connsiteY77" fmla="*/ 92973 h 208308"/>
                <a:gd name="connsiteX78" fmla="*/ 98 w 372315"/>
                <a:gd name="connsiteY78" fmla="*/ 93993 h 208308"/>
                <a:gd name="connsiteX79" fmla="*/ 736 w 372315"/>
                <a:gd name="connsiteY79" fmla="*/ 95907 h 208308"/>
                <a:gd name="connsiteX80" fmla="*/ 39011 w 372315"/>
                <a:gd name="connsiteY80" fmla="*/ 99607 h 208308"/>
                <a:gd name="connsiteX81" fmla="*/ 49345 w 372315"/>
                <a:gd name="connsiteY81" fmla="*/ 95142 h 208308"/>
                <a:gd name="connsiteX82" fmla="*/ 68610 w 372315"/>
                <a:gd name="connsiteY82" fmla="*/ 86594 h 208308"/>
                <a:gd name="connsiteX83" fmla="*/ 71672 w 372315"/>
                <a:gd name="connsiteY83" fmla="*/ 85063 h 208308"/>
                <a:gd name="connsiteX84" fmla="*/ 77541 w 372315"/>
                <a:gd name="connsiteY84" fmla="*/ 82383 h 208308"/>
                <a:gd name="connsiteX85" fmla="*/ 77541 w 372315"/>
                <a:gd name="connsiteY85" fmla="*/ 82383 h 208308"/>
                <a:gd name="connsiteX86" fmla="*/ 77541 w 372315"/>
                <a:gd name="connsiteY86" fmla="*/ 82894 h 208308"/>
                <a:gd name="connsiteX87" fmla="*/ 78051 w 372315"/>
                <a:gd name="connsiteY87" fmla="*/ 82894 h 208308"/>
                <a:gd name="connsiteX88" fmla="*/ 79200 w 372315"/>
                <a:gd name="connsiteY88" fmla="*/ 81745 h 208308"/>
                <a:gd name="connsiteX89" fmla="*/ 79710 w 372315"/>
                <a:gd name="connsiteY89" fmla="*/ 81745 h 208308"/>
                <a:gd name="connsiteX90" fmla="*/ 80220 w 372315"/>
                <a:gd name="connsiteY90" fmla="*/ 81235 h 208308"/>
                <a:gd name="connsiteX91" fmla="*/ 80476 w 372315"/>
                <a:gd name="connsiteY91" fmla="*/ 81235 h 208308"/>
                <a:gd name="connsiteX92" fmla="*/ 82517 w 372315"/>
                <a:gd name="connsiteY92" fmla="*/ 81235 h 208308"/>
                <a:gd name="connsiteX93" fmla="*/ 85962 w 372315"/>
                <a:gd name="connsiteY93" fmla="*/ 83404 h 208308"/>
                <a:gd name="connsiteX94" fmla="*/ 89406 w 372315"/>
                <a:gd name="connsiteY94" fmla="*/ 81235 h 208308"/>
                <a:gd name="connsiteX95" fmla="*/ 89406 w 372315"/>
                <a:gd name="connsiteY95" fmla="*/ 81745 h 208308"/>
                <a:gd name="connsiteX96" fmla="*/ 89406 w 372315"/>
                <a:gd name="connsiteY96" fmla="*/ 82894 h 208308"/>
                <a:gd name="connsiteX97" fmla="*/ 92213 w 372315"/>
                <a:gd name="connsiteY97" fmla="*/ 85701 h 208308"/>
                <a:gd name="connsiteX98" fmla="*/ 92213 w 372315"/>
                <a:gd name="connsiteY98" fmla="*/ 84552 h 208308"/>
                <a:gd name="connsiteX99" fmla="*/ 96168 w 372315"/>
                <a:gd name="connsiteY99" fmla="*/ 84042 h 208308"/>
                <a:gd name="connsiteX100" fmla="*/ 96679 w 372315"/>
                <a:gd name="connsiteY100" fmla="*/ 83532 h 208308"/>
                <a:gd name="connsiteX101" fmla="*/ 99741 w 372315"/>
                <a:gd name="connsiteY101" fmla="*/ 85063 h 208308"/>
                <a:gd name="connsiteX102" fmla="*/ 101144 w 372315"/>
                <a:gd name="connsiteY102" fmla="*/ 86211 h 208308"/>
                <a:gd name="connsiteX103" fmla="*/ 105865 w 372315"/>
                <a:gd name="connsiteY103" fmla="*/ 88125 h 208308"/>
                <a:gd name="connsiteX104" fmla="*/ 105865 w 372315"/>
                <a:gd name="connsiteY104" fmla="*/ 88125 h 208308"/>
                <a:gd name="connsiteX105" fmla="*/ 129723 w 372315"/>
                <a:gd name="connsiteY105" fmla="*/ 90931 h 208308"/>
                <a:gd name="connsiteX106" fmla="*/ 130616 w 372315"/>
                <a:gd name="connsiteY106" fmla="*/ 90676 h 208308"/>
                <a:gd name="connsiteX107" fmla="*/ 139419 w 372315"/>
                <a:gd name="connsiteY107" fmla="*/ 89528 h 208308"/>
                <a:gd name="connsiteX108" fmla="*/ 140185 w 372315"/>
                <a:gd name="connsiteY108" fmla="*/ 93738 h 208308"/>
                <a:gd name="connsiteX109" fmla="*/ 139930 w 372315"/>
                <a:gd name="connsiteY109" fmla="*/ 98459 h 208308"/>
                <a:gd name="connsiteX110" fmla="*/ 140950 w 372315"/>
                <a:gd name="connsiteY110" fmla="*/ 101776 h 208308"/>
                <a:gd name="connsiteX111" fmla="*/ 150264 w 372315"/>
                <a:gd name="connsiteY111" fmla="*/ 107390 h 208308"/>
                <a:gd name="connsiteX112" fmla="*/ 154857 w 372315"/>
                <a:gd name="connsiteY112" fmla="*/ 108283 h 208308"/>
                <a:gd name="connsiteX113" fmla="*/ 164043 w 372315"/>
                <a:gd name="connsiteY113" fmla="*/ 110835 h 208308"/>
                <a:gd name="connsiteX114" fmla="*/ 165319 w 372315"/>
                <a:gd name="connsiteY114" fmla="*/ 111345 h 208308"/>
                <a:gd name="connsiteX115" fmla="*/ 166977 w 372315"/>
                <a:gd name="connsiteY115" fmla="*/ 113897 h 208308"/>
                <a:gd name="connsiteX116" fmla="*/ 167360 w 372315"/>
                <a:gd name="connsiteY116" fmla="*/ 115555 h 208308"/>
                <a:gd name="connsiteX117" fmla="*/ 172463 w 372315"/>
                <a:gd name="connsiteY117" fmla="*/ 120403 h 208308"/>
                <a:gd name="connsiteX118" fmla="*/ 173994 w 372315"/>
                <a:gd name="connsiteY118" fmla="*/ 120786 h 208308"/>
                <a:gd name="connsiteX119" fmla="*/ 174888 w 372315"/>
                <a:gd name="connsiteY119" fmla="*/ 120148 h 208308"/>
                <a:gd name="connsiteX120" fmla="*/ 178460 w 372315"/>
                <a:gd name="connsiteY120" fmla="*/ 123210 h 208308"/>
                <a:gd name="connsiteX121" fmla="*/ 186243 w 372315"/>
                <a:gd name="connsiteY121" fmla="*/ 129334 h 208308"/>
                <a:gd name="connsiteX122" fmla="*/ 206784 w 372315"/>
                <a:gd name="connsiteY122" fmla="*/ 136607 h 208308"/>
                <a:gd name="connsiteX123" fmla="*/ 207039 w 372315"/>
                <a:gd name="connsiteY123" fmla="*/ 136607 h 208308"/>
                <a:gd name="connsiteX124" fmla="*/ 207039 w 372315"/>
                <a:gd name="connsiteY124" fmla="*/ 137117 h 208308"/>
                <a:gd name="connsiteX125" fmla="*/ 209335 w 372315"/>
                <a:gd name="connsiteY125" fmla="*/ 139413 h 208308"/>
                <a:gd name="connsiteX126" fmla="*/ 209973 w 372315"/>
                <a:gd name="connsiteY126" fmla="*/ 139796 h 208308"/>
                <a:gd name="connsiteX127" fmla="*/ 223880 w 372315"/>
                <a:gd name="connsiteY127" fmla="*/ 148472 h 208308"/>
                <a:gd name="connsiteX128" fmla="*/ 226049 w 372315"/>
                <a:gd name="connsiteY128" fmla="*/ 150130 h 208308"/>
                <a:gd name="connsiteX129" fmla="*/ 225538 w 372315"/>
                <a:gd name="connsiteY129" fmla="*/ 151023 h 208308"/>
                <a:gd name="connsiteX130" fmla="*/ 227197 w 372315"/>
                <a:gd name="connsiteY130" fmla="*/ 154341 h 208308"/>
                <a:gd name="connsiteX131" fmla="*/ 227197 w 372315"/>
                <a:gd name="connsiteY131" fmla="*/ 159954 h 208308"/>
                <a:gd name="connsiteX132" fmla="*/ 228855 w 372315"/>
                <a:gd name="connsiteY132" fmla="*/ 167354 h 208308"/>
                <a:gd name="connsiteX133" fmla="*/ 234852 w 372315"/>
                <a:gd name="connsiteY133" fmla="*/ 173733 h 208308"/>
                <a:gd name="connsiteX134" fmla="*/ 240848 w 372315"/>
                <a:gd name="connsiteY134" fmla="*/ 178454 h 208308"/>
                <a:gd name="connsiteX135" fmla="*/ 248759 w 372315"/>
                <a:gd name="connsiteY135" fmla="*/ 184450 h 208308"/>
                <a:gd name="connsiteX136" fmla="*/ 250927 w 372315"/>
                <a:gd name="connsiteY136" fmla="*/ 186237 h 208308"/>
                <a:gd name="connsiteX137" fmla="*/ 250417 w 372315"/>
                <a:gd name="connsiteY137" fmla="*/ 190447 h 208308"/>
                <a:gd name="connsiteX138" fmla="*/ 251565 w 372315"/>
                <a:gd name="connsiteY138" fmla="*/ 190447 h 208308"/>
                <a:gd name="connsiteX139" fmla="*/ 255265 w 372315"/>
                <a:gd name="connsiteY139" fmla="*/ 191595 h 208308"/>
                <a:gd name="connsiteX140" fmla="*/ 255520 w 372315"/>
                <a:gd name="connsiteY140" fmla="*/ 192105 h 208308"/>
                <a:gd name="connsiteX141" fmla="*/ 256158 w 372315"/>
                <a:gd name="connsiteY141" fmla="*/ 193764 h 208308"/>
                <a:gd name="connsiteX142" fmla="*/ 256541 w 372315"/>
                <a:gd name="connsiteY142" fmla="*/ 194019 h 208308"/>
                <a:gd name="connsiteX143" fmla="*/ 257945 w 372315"/>
                <a:gd name="connsiteY143" fmla="*/ 199505 h 208308"/>
                <a:gd name="connsiteX144" fmla="*/ 265855 w 372315"/>
                <a:gd name="connsiteY144" fmla="*/ 207160 h 208308"/>
                <a:gd name="connsiteX145" fmla="*/ 268789 w 372315"/>
                <a:gd name="connsiteY145" fmla="*/ 208181 h 208308"/>
                <a:gd name="connsiteX146" fmla="*/ 269555 w 372315"/>
                <a:gd name="connsiteY146" fmla="*/ 208309 h 208308"/>
                <a:gd name="connsiteX147" fmla="*/ 283206 w 372315"/>
                <a:gd name="connsiteY147" fmla="*/ 208309 h 208308"/>
                <a:gd name="connsiteX148" fmla="*/ 283717 w 372315"/>
                <a:gd name="connsiteY148" fmla="*/ 208309 h 208308"/>
                <a:gd name="connsiteX149" fmla="*/ 284099 w 372315"/>
                <a:gd name="connsiteY149" fmla="*/ 208309 h 208308"/>
                <a:gd name="connsiteX150" fmla="*/ 289075 w 372315"/>
                <a:gd name="connsiteY150" fmla="*/ 206395 h 208308"/>
                <a:gd name="connsiteX151" fmla="*/ 292265 w 372315"/>
                <a:gd name="connsiteY151" fmla="*/ 205884 h 208308"/>
                <a:gd name="connsiteX152" fmla="*/ 298516 w 372315"/>
                <a:gd name="connsiteY152" fmla="*/ 203078 h 208308"/>
                <a:gd name="connsiteX153" fmla="*/ 302982 w 372315"/>
                <a:gd name="connsiteY153" fmla="*/ 198102 h 208308"/>
                <a:gd name="connsiteX154" fmla="*/ 304385 w 372315"/>
                <a:gd name="connsiteY154" fmla="*/ 195295 h 208308"/>
                <a:gd name="connsiteX155" fmla="*/ 305661 w 372315"/>
                <a:gd name="connsiteY155" fmla="*/ 194912 h 208308"/>
                <a:gd name="connsiteX156" fmla="*/ 306299 w 372315"/>
                <a:gd name="connsiteY156" fmla="*/ 199250 h 208308"/>
                <a:gd name="connsiteX157" fmla="*/ 309744 w 372315"/>
                <a:gd name="connsiteY157" fmla="*/ 200909 h 208308"/>
                <a:gd name="connsiteX158" fmla="*/ 312550 w 372315"/>
                <a:gd name="connsiteY158" fmla="*/ 202057 h 208308"/>
                <a:gd name="connsiteX159" fmla="*/ 344702 w 372315"/>
                <a:gd name="connsiteY159" fmla="*/ 192616 h 208308"/>
                <a:gd name="connsiteX160" fmla="*/ 345850 w 372315"/>
                <a:gd name="connsiteY160" fmla="*/ 192105 h 208308"/>
                <a:gd name="connsiteX161" fmla="*/ 345850 w 372315"/>
                <a:gd name="connsiteY161" fmla="*/ 192105 h 208308"/>
                <a:gd name="connsiteX162" fmla="*/ 364094 w 372315"/>
                <a:gd name="connsiteY162" fmla="*/ 190574 h 208308"/>
                <a:gd name="connsiteX163" fmla="*/ 366008 w 372315"/>
                <a:gd name="connsiteY163" fmla="*/ 190064 h 208308"/>
                <a:gd name="connsiteX164" fmla="*/ 372004 w 372315"/>
                <a:gd name="connsiteY164" fmla="*/ 185726 h 208308"/>
                <a:gd name="connsiteX165" fmla="*/ 369963 w 372315"/>
                <a:gd name="connsiteY165" fmla="*/ 177944 h 20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</a:cxnLst>
              <a:rect l="l" t="t" r="r" b="b"/>
              <a:pathLst>
                <a:path w="372315" h="208308">
                  <a:moveTo>
                    <a:pt x="371111" y="178199"/>
                  </a:moveTo>
                  <a:cubicBezTo>
                    <a:pt x="366008" y="170289"/>
                    <a:pt x="358863" y="167992"/>
                    <a:pt x="350698" y="171564"/>
                  </a:cubicBezTo>
                  <a:lnTo>
                    <a:pt x="350188" y="171820"/>
                  </a:lnTo>
                  <a:cubicBezTo>
                    <a:pt x="348784" y="172458"/>
                    <a:pt x="348401" y="172458"/>
                    <a:pt x="348019" y="172202"/>
                  </a:cubicBezTo>
                  <a:cubicBezTo>
                    <a:pt x="347636" y="171947"/>
                    <a:pt x="347381" y="171692"/>
                    <a:pt x="348274" y="170289"/>
                  </a:cubicBezTo>
                  <a:cubicBezTo>
                    <a:pt x="348784" y="169523"/>
                    <a:pt x="350060" y="167354"/>
                    <a:pt x="348274" y="165313"/>
                  </a:cubicBezTo>
                  <a:lnTo>
                    <a:pt x="347764" y="164675"/>
                  </a:lnTo>
                  <a:cubicBezTo>
                    <a:pt x="344957" y="161613"/>
                    <a:pt x="342022" y="158296"/>
                    <a:pt x="337302" y="156765"/>
                  </a:cubicBezTo>
                  <a:cubicBezTo>
                    <a:pt x="337174" y="156765"/>
                    <a:pt x="337047" y="156765"/>
                    <a:pt x="336919" y="156637"/>
                  </a:cubicBezTo>
                  <a:cubicBezTo>
                    <a:pt x="335260" y="156127"/>
                    <a:pt x="333602" y="155744"/>
                    <a:pt x="331943" y="155361"/>
                  </a:cubicBezTo>
                  <a:cubicBezTo>
                    <a:pt x="327733" y="154341"/>
                    <a:pt x="323778" y="153447"/>
                    <a:pt x="320461" y="150896"/>
                  </a:cubicBezTo>
                  <a:cubicBezTo>
                    <a:pt x="318930" y="149748"/>
                    <a:pt x="316378" y="149492"/>
                    <a:pt x="314847" y="149875"/>
                  </a:cubicBezTo>
                  <a:cubicBezTo>
                    <a:pt x="310126" y="150641"/>
                    <a:pt x="307319" y="149110"/>
                    <a:pt x="303747" y="147068"/>
                  </a:cubicBezTo>
                  <a:cubicBezTo>
                    <a:pt x="301833" y="145920"/>
                    <a:pt x="299537" y="144644"/>
                    <a:pt x="296730" y="143751"/>
                  </a:cubicBezTo>
                  <a:cubicBezTo>
                    <a:pt x="296730" y="143751"/>
                    <a:pt x="296730" y="143623"/>
                    <a:pt x="296602" y="143496"/>
                  </a:cubicBezTo>
                  <a:cubicBezTo>
                    <a:pt x="295837" y="142730"/>
                    <a:pt x="294816" y="142730"/>
                    <a:pt x="293923" y="142858"/>
                  </a:cubicBezTo>
                  <a:cubicBezTo>
                    <a:pt x="293540" y="142858"/>
                    <a:pt x="292775" y="142858"/>
                    <a:pt x="292647" y="142858"/>
                  </a:cubicBezTo>
                  <a:cubicBezTo>
                    <a:pt x="291882" y="140817"/>
                    <a:pt x="291372" y="138648"/>
                    <a:pt x="290861" y="136479"/>
                  </a:cubicBezTo>
                  <a:cubicBezTo>
                    <a:pt x="289585" y="131376"/>
                    <a:pt x="288310" y="126017"/>
                    <a:pt x="284099" y="121296"/>
                  </a:cubicBezTo>
                  <a:cubicBezTo>
                    <a:pt x="283334" y="120531"/>
                    <a:pt x="282696" y="119765"/>
                    <a:pt x="282058" y="119000"/>
                  </a:cubicBezTo>
                  <a:cubicBezTo>
                    <a:pt x="277337" y="113641"/>
                    <a:pt x="272489" y="108028"/>
                    <a:pt x="263941" y="107262"/>
                  </a:cubicBezTo>
                  <a:cubicBezTo>
                    <a:pt x="259731" y="106879"/>
                    <a:pt x="255648" y="105348"/>
                    <a:pt x="251055" y="102414"/>
                  </a:cubicBezTo>
                  <a:cubicBezTo>
                    <a:pt x="245952" y="99097"/>
                    <a:pt x="239573" y="95907"/>
                    <a:pt x="231407" y="97438"/>
                  </a:cubicBezTo>
                  <a:cubicBezTo>
                    <a:pt x="219669" y="99735"/>
                    <a:pt x="207421" y="100628"/>
                    <a:pt x="196832" y="92207"/>
                  </a:cubicBezTo>
                  <a:cubicBezTo>
                    <a:pt x="194535" y="90294"/>
                    <a:pt x="192239" y="88252"/>
                    <a:pt x="190070" y="86338"/>
                  </a:cubicBezTo>
                  <a:cubicBezTo>
                    <a:pt x="188029" y="84425"/>
                    <a:pt x="185860" y="82383"/>
                    <a:pt x="183563" y="80470"/>
                  </a:cubicBezTo>
                  <a:cubicBezTo>
                    <a:pt x="177950" y="76004"/>
                    <a:pt x="172846" y="70901"/>
                    <a:pt x="167743" y="66053"/>
                  </a:cubicBezTo>
                  <a:lnTo>
                    <a:pt x="167105" y="65415"/>
                  </a:lnTo>
                  <a:cubicBezTo>
                    <a:pt x="164808" y="56867"/>
                    <a:pt x="158812" y="51253"/>
                    <a:pt x="152943" y="45894"/>
                  </a:cubicBezTo>
                  <a:cubicBezTo>
                    <a:pt x="151412" y="44491"/>
                    <a:pt x="149881" y="43088"/>
                    <a:pt x="148478" y="41684"/>
                  </a:cubicBezTo>
                  <a:cubicBezTo>
                    <a:pt x="144140" y="37346"/>
                    <a:pt x="139037" y="34157"/>
                    <a:pt x="134061" y="31095"/>
                  </a:cubicBezTo>
                  <a:cubicBezTo>
                    <a:pt x="127682" y="27140"/>
                    <a:pt x="121685" y="23440"/>
                    <a:pt x="117220" y="17571"/>
                  </a:cubicBezTo>
                  <a:cubicBezTo>
                    <a:pt x="114030" y="13361"/>
                    <a:pt x="109310" y="10426"/>
                    <a:pt x="104716" y="7492"/>
                  </a:cubicBezTo>
                  <a:lnTo>
                    <a:pt x="100634" y="4812"/>
                  </a:lnTo>
                  <a:cubicBezTo>
                    <a:pt x="96934" y="2261"/>
                    <a:pt x="92724" y="-546"/>
                    <a:pt x="87237" y="92"/>
                  </a:cubicBezTo>
                  <a:cubicBezTo>
                    <a:pt x="85196" y="347"/>
                    <a:pt x="82517" y="1112"/>
                    <a:pt x="81624" y="3154"/>
                  </a:cubicBezTo>
                  <a:cubicBezTo>
                    <a:pt x="81241" y="4047"/>
                    <a:pt x="81113" y="5705"/>
                    <a:pt x="82900" y="7619"/>
                  </a:cubicBezTo>
                  <a:cubicBezTo>
                    <a:pt x="84431" y="9405"/>
                    <a:pt x="85579" y="11447"/>
                    <a:pt x="86855" y="13616"/>
                  </a:cubicBezTo>
                  <a:cubicBezTo>
                    <a:pt x="89024" y="17443"/>
                    <a:pt x="91320" y="21398"/>
                    <a:pt x="95913" y="24078"/>
                  </a:cubicBezTo>
                  <a:cubicBezTo>
                    <a:pt x="99486" y="26119"/>
                    <a:pt x="102803" y="28671"/>
                    <a:pt x="106120" y="31095"/>
                  </a:cubicBezTo>
                  <a:cubicBezTo>
                    <a:pt x="110585" y="34540"/>
                    <a:pt x="115178" y="37984"/>
                    <a:pt x="120409" y="40153"/>
                  </a:cubicBezTo>
                  <a:cubicBezTo>
                    <a:pt x="131381" y="44746"/>
                    <a:pt x="137633" y="51636"/>
                    <a:pt x="140567" y="62480"/>
                  </a:cubicBezTo>
                  <a:cubicBezTo>
                    <a:pt x="141078" y="64394"/>
                    <a:pt x="141843" y="66053"/>
                    <a:pt x="142736" y="67839"/>
                  </a:cubicBezTo>
                  <a:cubicBezTo>
                    <a:pt x="142992" y="68477"/>
                    <a:pt x="143374" y="69115"/>
                    <a:pt x="143630" y="69753"/>
                  </a:cubicBezTo>
                  <a:lnTo>
                    <a:pt x="140695" y="85318"/>
                  </a:lnTo>
                  <a:cubicBezTo>
                    <a:pt x="137123" y="83787"/>
                    <a:pt x="133423" y="84042"/>
                    <a:pt x="129850" y="84297"/>
                  </a:cubicBezTo>
                  <a:cubicBezTo>
                    <a:pt x="128064" y="84425"/>
                    <a:pt x="126406" y="84552"/>
                    <a:pt x="124747" y="84425"/>
                  </a:cubicBezTo>
                  <a:cubicBezTo>
                    <a:pt x="124747" y="84425"/>
                    <a:pt x="124620" y="84425"/>
                    <a:pt x="124492" y="84425"/>
                  </a:cubicBezTo>
                  <a:cubicBezTo>
                    <a:pt x="118496" y="84042"/>
                    <a:pt x="114540" y="82894"/>
                    <a:pt x="111478" y="78173"/>
                  </a:cubicBezTo>
                  <a:cubicBezTo>
                    <a:pt x="108161" y="72942"/>
                    <a:pt x="102548" y="66180"/>
                    <a:pt x="94893" y="64011"/>
                  </a:cubicBezTo>
                  <a:cubicBezTo>
                    <a:pt x="86472" y="61460"/>
                    <a:pt x="78817" y="57760"/>
                    <a:pt x="71672" y="52529"/>
                  </a:cubicBezTo>
                  <a:lnTo>
                    <a:pt x="71290" y="52274"/>
                  </a:lnTo>
                  <a:cubicBezTo>
                    <a:pt x="68228" y="49977"/>
                    <a:pt x="64272" y="47298"/>
                    <a:pt x="59297" y="48701"/>
                  </a:cubicBezTo>
                  <a:cubicBezTo>
                    <a:pt x="58531" y="48956"/>
                    <a:pt x="58148" y="49594"/>
                    <a:pt x="58148" y="50360"/>
                  </a:cubicBezTo>
                  <a:cubicBezTo>
                    <a:pt x="58276" y="52656"/>
                    <a:pt x="59679" y="53677"/>
                    <a:pt x="60572" y="54315"/>
                  </a:cubicBezTo>
                  <a:cubicBezTo>
                    <a:pt x="60828" y="54570"/>
                    <a:pt x="61210" y="54698"/>
                    <a:pt x="61338" y="54953"/>
                  </a:cubicBezTo>
                  <a:cubicBezTo>
                    <a:pt x="61848" y="55463"/>
                    <a:pt x="62486" y="55973"/>
                    <a:pt x="62997" y="56229"/>
                  </a:cubicBezTo>
                  <a:cubicBezTo>
                    <a:pt x="63379" y="56484"/>
                    <a:pt x="63890" y="56739"/>
                    <a:pt x="63890" y="56867"/>
                  </a:cubicBezTo>
                  <a:cubicBezTo>
                    <a:pt x="63890" y="56867"/>
                    <a:pt x="63890" y="56994"/>
                    <a:pt x="63634" y="57249"/>
                  </a:cubicBezTo>
                  <a:cubicBezTo>
                    <a:pt x="62997" y="58270"/>
                    <a:pt x="62359" y="58270"/>
                    <a:pt x="59552" y="56994"/>
                  </a:cubicBezTo>
                  <a:cubicBezTo>
                    <a:pt x="59169" y="56867"/>
                    <a:pt x="58786" y="56484"/>
                    <a:pt x="58404" y="55973"/>
                  </a:cubicBezTo>
                  <a:cubicBezTo>
                    <a:pt x="57893" y="55463"/>
                    <a:pt x="57383" y="54953"/>
                    <a:pt x="56617" y="54570"/>
                  </a:cubicBezTo>
                  <a:cubicBezTo>
                    <a:pt x="55597" y="54060"/>
                    <a:pt x="54704" y="53167"/>
                    <a:pt x="53811" y="52274"/>
                  </a:cubicBezTo>
                  <a:cubicBezTo>
                    <a:pt x="52152" y="50615"/>
                    <a:pt x="50366" y="48829"/>
                    <a:pt x="47431" y="48319"/>
                  </a:cubicBezTo>
                  <a:lnTo>
                    <a:pt x="46921" y="48319"/>
                  </a:lnTo>
                  <a:cubicBezTo>
                    <a:pt x="44752" y="47808"/>
                    <a:pt x="41563" y="47298"/>
                    <a:pt x="40032" y="50232"/>
                  </a:cubicBezTo>
                  <a:cubicBezTo>
                    <a:pt x="38245" y="53549"/>
                    <a:pt x="41690" y="55973"/>
                    <a:pt x="42966" y="56867"/>
                  </a:cubicBezTo>
                  <a:cubicBezTo>
                    <a:pt x="44369" y="57887"/>
                    <a:pt x="45645" y="58908"/>
                    <a:pt x="46921" y="59929"/>
                  </a:cubicBezTo>
                  <a:cubicBezTo>
                    <a:pt x="49855" y="62353"/>
                    <a:pt x="52790" y="64777"/>
                    <a:pt x="56490" y="66435"/>
                  </a:cubicBezTo>
                  <a:cubicBezTo>
                    <a:pt x="59041" y="67584"/>
                    <a:pt x="60572" y="68987"/>
                    <a:pt x="60955" y="70646"/>
                  </a:cubicBezTo>
                  <a:cubicBezTo>
                    <a:pt x="61466" y="72942"/>
                    <a:pt x="59807" y="75366"/>
                    <a:pt x="58276" y="77152"/>
                  </a:cubicBezTo>
                  <a:cubicBezTo>
                    <a:pt x="55342" y="80470"/>
                    <a:pt x="51769" y="83149"/>
                    <a:pt x="47431" y="84935"/>
                  </a:cubicBezTo>
                  <a:cubicBezTo>
                    <a:pt x="45518" y="85701"/>
                    <a:pt x="43604" y="86466"/>
                    <a:pt x="41690" y="87359"/>
                  </a:cubicBezTo>
                  <a:cubicBezTo>
                    <a:pt x="35949" y="89656"/>
                    <a:pt x="29952" y="92207"/>
                    <a:pt x="24466" y="95269"/>
                  </a:cubicBezTo>
                  <a:cubicBezTo>
                    <a:pt x="22808" y="96162"/>
                    <a:pt x="21022" y="96290"/>
                    <a:pt x="18470" y="95780"/>
                  </a:cubicBezTo>
                  <a:cubicBezTo>
                    <a:pt x="14515" y="95014"/>
                    <a:pt x="10432" y="94376"/>
                    <a:pt x="6605" y="93738"/>
                  </a:cubicBezTo>
                  <a:cubicBezTo>
                    <a:pt x="5074" y="93483"/>
                    <a:pt x="3415" y="93228"/>
                    <a:pt x="1884" y="92973"/>
                  </a:cubicBezTo>
                  <a:cubicBezTo>
                    <a:pt x="1884" y="92973"/>
                    <a:pt x="1884" y="92973"/>
                    <a:pt x="1884" y="92973"/>
                  </a:cubicBezTo>
                  <a:cubicBezTo>
                    <a:pt x="1118" y="92973"/>
                    <a:pt x="353" y="93356"/>
                    <a:pt x="98" y="93993"/>
                  </a:cubicBezTo>
                  <a:cubicBezTo>
                    <a:pt x="-157" y="94759"/>
                    <a:pt x="98" y="95525"/>
                    <a:pt x="736" y="95907"/>
                  </a:cubicBezTo>
                  <a:cubicBezTo>
                    <a:pt x="13749" y="103690"/>
                    <a:pt x="27018" y="104966"/>
                    <a:pt x="39011" y="99607"/>
                  </a:cubicBezTo>
                  <a:cubicBezTo>
                    <a:pt x="42456" y="98076"/>
                    <a:pt x="45900" y="96673"/>
                    <a:pt x="49345" y="95142"/>
                  </a:cubicBezTo>
                  <a:cubicBezTo>
                    <a:pt x="55724" y="92462"/>
                    <a:pt x="62231" y="89656"/>
                    <a:pt x="68610" y="86594"/>
                  </a:cubicBezTo>
                  <a:cubicBezTo>
                    <a:pt x="69631" y="86083"/>
                    <a:pt x="70652" y="85573"/>
                    <a:pt x="71672" y="85063"/>
                  </a:cubicBezTo>
                  <a:cubicBezTo>
                    <a:pt x="73586" y="84042"/>
                    <a:pt x="75627" y="83149"/>
                    <a:pt x="77541" y="82383"/>
                  </a:cubicBezTo>
                  <a:cubicBezTo>
                    <a:pt x="77541" y="82383"/>
                    <a:pt x="77541" y="82383"/>
                    <a:pt x="77541" y="82383"/>
                  </a:cubicBezTo>
                  <a:lnTo>
                    <a:pt x="77541" y="82894"/>
                  </a:lnTo>
                  <a:lnTo>
                    <a:pt x="78051" y="82894"/>
                  </a:lnTo>
                  <a:cubicBezTo>
                    <a:pt x="78051" y="82894"/>
                    <a:pt x="78562" y="82383"/>
                    <a:pt x="79200" y="81745"/>
                  </a:cubicBezTo>
                  <a:cubicBezTo>
                    <a:pt x="79200" y="82256"/>
                    <a:pt x="79710" y="82256"/>
                    <a:pt x="79710" y="81745"/>
                  </a:cubicBezTo>
                  <a:cubicBezTo>
                    <a:pt x="79965" y="81490"/>
                    <a:pt x="80093" y="81363"/>
                    <a:pt x="80220" y="81235"/>
                  </a:cubicBezTo>
                  <a:cubicBezTo>
                    <a:pt x="80220" y="81235"/>
                    <a:pt x="80348" y="81235"/>
                    <a:pt x="80476" y="81235"/>
                  </a:cubicBezTo>
                  <a:lnTo>
                    <a:pt x="82517" y="81235"/>
                  </a:lnTo>
                  <a:cubicBezTo>
                    <a:pt x="82517" y="83404"/>
                    <a:pt x="85962" y="83404"/>
                    <a:pt x="85962" y="83404"/>
                  </a:cubicBezTo>
                  <a:cubicBezTo>
                    <a:pt x="87110" y="80597"/>
                    <a:pt x="88258" y="80597"/>
                    <a:pt x="89406" y="81235"/>
                  </a:cubicBezTo>
                  <a:lnTo>
                    <a:pt x="89406" y="81745"/>
                  </a:lnTo>
                  <a:cubicBezTo>
                    <a:pt x="89406" y="81745"/>
                    <a:pt x="89917" y="83404"/>
                    <a:pt x="89406" y="82894"/>
                  </a:cubicBezTo>
                  <a:cubicBezTo>
                    <a:pt x="89406" y="86211"/>
                    <a:pt x="92213" y="85701"/>
                    <a:pt x="92213" y="85701"/>
                  </a:cubicBezTo>
                  <a:lnTo>
                    <a:pt x="92213" y="84552"/>
                  </a:lnTo>
                  <a:cubicBezTo>
                    <a:pt x="92724" y="83404"/>
                    <a:pt x="95658" y="84042"/>
                    <a:pt x="96168" y="84042"/>
                  </a:cubicBezTo>
                  <a:cubicBezTo>
                    <a:pt x="96679" y="84042"/>
                    <a:pt x="96679" y="84042"/>
                    <a:pt x="96679" y="83532"/>
                  </a:cubicBezTo>
                  <a:cubicBezTo>
                    <a:pt x="97699" y="84042"/>
                    <a:pt x="98720" y="84552"/>
                    <a:pt x="99741" y="85063"/>
                  </a:cubicBezTo>
                  <a:cubicBezTo>
                    <a:pt x="100634" y="85956"/>
                    <a:pt x="101144" y="86849"/>
                    <a:pt x="101144" y="86211"/>
                  </a:cubicBezTo>
                  <a:cubicBezTo>
                    <a:pt x="101399" y="87614"/>
                    <a:pt x="103696" y="87997"/>
                    <a:pt x="105865" y="88125"/>
                  </a:cubicBezTo>
                  <a:cubicBezTo>
                    <a:pt x="105865" y="88125"/>
                    <a:pt x="105865" y="88125"/>
                    <a:pt x="105865" y="88125"/>
                  </a:cubicBezTo>
                  <a:cubicBezTo>
                    <a:pt x="113137" y="91442"/>
                    <a:pt x="121047" y="93993"/>
                    <a:pt x="129723" y="90931"/>
                  </a:cubicBezTo>
                  <a:cubicBezTo>
                    <a:pt x="129978" y="90931"/>
                    <a:pt x="130361" y="90931"/>
                    <a:pt x="130616" y="90676"/>
                  </a:cubicBezTo>
                  <a:cubicBezTo>
                    <a:pt x="133295" y="89528"/>
                    <a:pt x="136357" y="89145"/>
                    <a:pt x="139419" y="89528"/>
                  </a:cubicBezTo>
                  <a:cubicBezTo>
                    <a:pt x="140057" y="91059"/>
                    <a:pt x="140567" y="92335"/>
                    <a:pt x="140185" y="93738"/>
                  </a:cubicBezTo>
                  <a:cubicBezTo>
                    <a:pt x="139674" y="95525"/>
                    <a:pt x="139674" y="97055"/>
                    <a:pt x="139930" y="98459"/>
                  </a:cubicBezTo>
                  <a:cubicBezTo>
                    <a:pt x="140057" y="99607"/>
                    <a:pt x="140440" y="100755"/>
                    <a:pt x="140950" y="101776"/>
                  </a:cubicBezTo>
                  <a:cubicBezTo>
                    <a:pt x="142609" y="104455"/>
                    <a:pt x="145671" y="106369"/>
                    <a:pt x="150264" y="107390"/>
                  </a:cubicBezTo>
                  <a:cubicBezTo>
                    <a:pt x="151795" y="107772"/>
                    <a:pt x="153326" y="108028"/>
                    <a:pt x="154857" y="108283"/>
                  </a:cubicBezTo>
                  <a:cubicBezTo>
                    <a:pt x="158174" y="108793"/>
                    <a:pt x="161236" y="109431"/>
                    <a:pt x="164043" y="110835"/>
                  </a:cubicBezTo>
                  <a:cubicBezTo>
                    <a:pt x="164426" y="111090"/>
                    <a:pt x="164808" y="111217"/>
                    <a:pt x="165319" y="111345"/>
                  </a:cubicBezTo>
                  <a:cubicBezTo>
                    <a:pt x="167360" y="112238"/>
                    <a:pt x="167615" y="112365"/>
                    <a:pt x="166977" y="113897"/>
                  </a:cubicBezTo>
                  <a:cubicBezTo>
                    <a:pt x="166722" y="114534"/>
                    <a:pt x="166977" y="115172"/>
                    <a:pt x="167360" y="115555"/>
                  </a:cubicBezTo>
                  <a:lnTo>
                    <a:pt x="172463" y="120403"/>
                  </a:lnTo>
                  <a:cubicBezTo>
                    <a:pt x="172463" y="120403"/>
                    <a:pt x="173484" y="120914"/>
                    <a:pt x="173994" y="120786"/>
                  </a:cubicBezTo>
                  <a:cubicBezTo>
                    <a:pt x="174377" y="120786"/>
                    <a:pt x="174632" y="120403"/>
                    <a:pt x="174888" y="120148"/>
                  </a:cubicBezTo>
                  <a:cubicBezTo>
                    <a:pt x="176163" y="121169"/>
                    <a:pt x="177312" y="122189"/>
                    <a:pt x="178460" y="123210"/>
                  </a:cubicBezTo>
                  <a:cubicBezTo>
                    <a:pt x="181012" y="125379"/>
                    <a:pt x="183563" y="127548"/>
                    <a:pt x="186243" y="129334"/>
                  </a:cubicBezTo>
                  <a:cubicBezTo>
                    <a:pt x="192367" y="133417"/>
                    <a:pt x="199256" y="135841"/>
                    <a:pt x="206784" y="136607"/>
                  </a:cubicBezTo>
                  <a:cubicBezTo>
                    <a:pt x="206784" y="136607"/>
                    <a:pt x="206911" y="136607"/>
                    <a:pt x="207039" y="136607"/>
                  </a:cubicBezTo>
                  <a:cubicBezTo>
                    <a:pt x="207039" y="136734"/>
                    <a:pt x="207039" y="136989"/>
                    <a:pt x="207039" y="137117"/>
                  </a:cubicBezTo>
                  <a:cubicBezTo>
                    <a:pt x="207421" y="138393"/>
                    <a:pt x="208570" y="139030"/>
                    <a:pt x="209335" y="139413"/>
                  </a:cubicBezTo>
                  <a:cubicBezTo>
                    <a:pt x="209590" y="139413"/>
                    <a:pt x="209718" y="139668"/>
                    <a:pt x="209973" y="139796"/>
                  </a:cubicBezTo>
                  <a:cubicBezTo>
                    <a:pt x="214439" y="142730"/>
                    <a:pt x="219159" y="145665"/>
                    <a:pt x="223880" y="148472"/>
                  </a:cubicBezTo>
                  <a:cubicBezTo>
                    <a:pt x="224773" y="148982"/>
                    <a:pt x="225411" y="149492"/>
                    <a:pt x="226049" y="150130"/>
                  </a:cubicBezTo>
                  <a:cubicBezTo>
                    <a:pt x="225921" y="150386"/>
                    <a:pt x="225793" y="150641"/>
                    <a:pt x="225538" y="151023"/>
                  </a:cubicBezTo>
                  <a:cubicBezTo>
                    <a:pt x="224390" y="152172"/>
                    <a:pt x="227197" y="154341"/>
                    <a:pt x="227197" y="154341"/>
                  </a:cubicBezTo>
                  <a:cubicBezTo>
                    <a:pt x="221583" y="157658"/>
                    <a:pt x="226049" y="159954"/>
                    <a:pt x="227197" y="159954"/>
                  </a:cubicBezTo>
                  <a:cubicBezTo>
                    <a:pt x="226431" y="165185"/>
                    <a:pt x="227835" y="166844"/>
                    <a:pt x="228855" y="167354"/>
                  </a:cubicBezTo>
                  <a:cubicBezTo>
                    <a:pt x="230259" y="170033"/>
                    <a:pt x="232555" y="172075"/>
                    <a:pt x="234852" y="173733"/>
                  </a:cubicBezTo>
                  <a:cubicBezTo>
                    <a:pt x="236893" y="175137"/>
                    <a:pt x="238935" y="176923"/>
                    <a:pt x="240848" y="178454"/>
                  </a:cubicBezTo>
                  <a:cubicBezTo>
                    <a:pt x="243400" y="180495"/>
                    <a:pt x="245952" y="182664"/>
                    <a:pt x="248759" y="184450"/>
                  </a:cubicBezTo>
                  <a:cubicBezTo>
                    <a:pt x="249524" y="184961"/>
                    <a:pt x="250290" y="185599"/>
                    <a:pt x="250927" y="186237"/>
                  </a:cubicBezTo>
                  <a:cubicBezTo>
                    <a:pt x="250927" y="186874"/>
                    <a:pt x="250417" y="189936"/>
                    <a:pt x="250417" y="190447"/>
                  </a:cubicBezTo>
                  <a:lnTo>
                    <a:pt x="251565" y="190447"/>
                  </a:lnTo>
                  <a:cubicBezTo>
                    <a:pt x="253479" y="189936"/>
                    <a:pt x="254627" y="190702"/>
                    <a:pt x="255265" y="191595"/>
                  </a:cubicBezTo>
                  <a:cubicBezTo>
                    <a:pt x="255265" y="191723"/>
                    <a:pt x="255393" y="191850"/>
                    <a:pt x="255520" y="192105"/>
                  </a:cubicBezTo>
                  <a:cubicBezTo>
                    <a:pt x="255903" y="192998"/>
                    <a:pt x="256158" y="193764"/>
                    <a:pt x="256158" y="193764"/>
                  </a:cubicBezTo>
                  <a:cubicBezTo>
                    <a:pt x="256158" y="193764"/>
                    <a:pt x="256414" y="193891"/>
                    <a:pt x="256541" y="194019"/>
                  </a:cubicBezTo>
                  <a:cubicBezTo>
                    <a:pt x="257179" y="195678"/>
                    <a:pt x="257689" y="197464"/>
                    <a:pt x="257945" y="199505"/>
                  </a:cubicBezTo>
                  <a:cubicBezTo>
                    <a:pt x="258710" y="204864"/>
                    <a:pt x="262665" y="206140"/>
                    <a:pt x="265855" y="207160"/>
                  </a:cubicBezTo>
                  <a:cubicBezTo>
                    <a:pt x="266875" y="207543"/>
                    <a:pt x="267896" y="207798"/>
                    <a:pt x="268789" y="208181"/>
                  </a:cubicBezTo>
                  <a:cubicBezTo>
                    <a:pt x="269044" y="208181"/>
                    <a:pt x="269300" y="208309"/>
                    <a:pt x="269555" y="208309"/>
                  </a:cubicBezTo>
                  <a:lnTo>
                    <a:pt x="283206" y="208309"/>
                  </a:lnTo>
                  <a:cubicBezTo>
                    <a:pt x="283206" y="208309"/>
                    <a:pt x="283461" y="208309"/>
                    <a:pt x="283717" y="208309"/>
                  </a:cubicBezTo>
                  <a:lnTo>
                    <a:pt x="284099" y="208309"/>
                  </a:lnTo>
                  <a:cubicBezTo>
                    <a:pt x="285758" y="207671"/>
                    <a:pt x="287416" y="207160"/>
                    <a:pt x="289075" y="206395"/>
                  </a:cubicBezTo>
                  <a:cubicBezTo>
                    <a:pt x="290989" y="206395"/>
                    <a:pt x="292265" y="206267"/>
                    <a:pt x="292265" y="205884"/>
                  </a:cubicBezTo>
                  <a:cubicBezTo>
                    <a:pt x="293413" y="204226"/>
                    <a:pt x="298516" y="204226"/>
                    <a:pt x="298516" y="203078"/>
                  </a:cubicBezTo>
                  <a:cubicBezTo>
                    <a:pt x="298516" y="196954"/>
                    <a:pt x="302982" y="199250"/>
                    <a:pt x="302982" y="198102"/>
                  </a:cubicBezTo>
                  <a:cubicBezTo>
                    <a:pt x="303492" y="196571"/>
                    <a:pt x="304002" y="195805"/>
                    <a:pt x="304385" y="195295"/>
                  </a:cubicBezTo>
                  <a:cubicBezTo>
                    <a:pt x="304768" y="195167"/>
                    <a:pt x="305278" y="195040"/>
                    <a:pt x="305661" y="194912"/>
                  </a:cubicBezTo>
                  <a:cubicBezTo>
                    <a:pt x="306299" y="196060"/>
                    <a:pt x="306299" y="199250"/>
                    <a:pt x="306299" y="199250"/>
                  </a:cubicBezTo>
                  <a:cubicBezTo>
                    <a:pt x="313061" y="198102"/>
                    <a:pt x="305151" y="200909"/>
                    <a:pt x="309744" y="200909"/>
                  </a:cubicBezTo>
                  <a:cubicBezTo>
                    <a:pt x="312040" y="200398"/>
                    <a:pt x="312040" y="202057"/>
                    <a:pt x="312550" y="202057"/>
                  </a:cubicBezTo>
                  <a:cubicBezTo>
                    <a:pt x="321609" y="199888"/>
                    <a:pt x="333985" y="195423"/>
                    <a:pt x="344702" y="192616"/>
                  </a:cubicBezTo>
                  <a:cubicBezTo>
                    <a:pt x="344702" y="192616"/>
                    <a:pt x="345212" y="192616"/>
                    <a:pt x="345850" y="192105"/>
                  </a:cubicBezTo>
                  <a:cubicBezTo>
                    <a:pt x="345850" y="192105"/>
                    <a:pt x="345850" y="192105"/>
                    <a:pt x="345850" y="192105"/>
                  </a:cubicBezTo>
                  <a:cubicBezTo>
                    <a:pt x="352229" y="193891"/>
                    <a:pt x="358225" y="192233"/>
                    <a:pt x="364094" y="190574"/>
                  </a:cubicBezTo>
                  <a:lnTo>
                    <a:pt x="366008" y="190064"/>
                  </a:lnTo>
                  <a:cubicBezTo>
                    <a:pt x="368177" y="189426"/>
                    <a:pt x="371111" y="188278"/>
                    <a:pt x="372004" y="185726"/>
                  </a:cubicBezTo>
                  <a:cubicBezTo>
                    <a:pt x="372770" y="183685"/>
                    <a:pt x="372132" y="181261"/>
                    <a:pt x="369963" y="177944"/>
                  </a:cubicBezTo>
                  <a:close/>
                </a:path>
              </a:pathLst>
            </a:custGeom>
            <a:solidFill>
              <a:srgbClr val="D0EAF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114DC732-8F77-0430-48E8-C25E64AA1ECA}"/>
                </a:ext>
              </a:extLst>
            </p:cNvPr>
            <p:cNvSpPr/>
            <p:nvPr/>
          </p:nvSpPr>
          <p:spPr>
            <a:xfrm>
              <a:off x="4879775" y="3113659"/>
              <a:ext cx="2142942" cy="2160240"/>
            </a:xfrm>
            <a:custGeom>
              <a:avLst/>
              <a:gdLst>
                <a:gd name="connsiteX0" fmla="*/ 2060783 w 2066379"/>
                <a:gd name="connsiteY0" fmla="*/ 1184488 h 2083059"/>
                <a:gd name="connsiteX1" fmla="*/ 2059635 w 2066379"/>
                <a:gd name="connsiteY1" fmla="*/ 1148892 h 2083059"/>
                <a:gd name="connsiteX2" fmla="*/ 2060145 w 2066379"/>
                <a:gd name="connsiteY2" fmla="*/ 1129371 h 2083059"/>
                <a:gd name="connsiteX3" fmla="*/ 2060145 w 2066379"/>
                <a:gd name="connsiteY3" fmla="*/ 1129371 h 2083059"/>
                <a:gd name="connsiteX4" fmla="*/ 2044963 w 2066379"/>
                <a:gd name="connsiteY4" fmla="*/ 1114954 h 2083059"/>
                <a:gd name="connsiteX5" fmla="*/ 1974409 w 2066379"/>
                <a:gd name="connsiteY5" fmla="*/ 1031004 h 2083059"/>
                <a:gd name="connsiteX6" fmla="*/ 1897093 w 2066379"/>
                <a:gd name="connsiteY6" fmla="*/ 998726 h 2083059"/>
                <a:gd name="connsiteX7" fmla="*/ 1863283 w 2066379"/>
                <a:gd name="connsiteY7" fmla="*/ 974230 h 2083059"/>
                <a:gd name="connsiteX8" fmla="*/ 1822074 w 2066379"/>
                <a:gd name="connsiteY8" fmla="*/ 903038 h 2083059"/>
                <a:gd name="connsiteX9" fmla="*/ 1755475 w 2066379"/>
                <a:gd name="connsiteY9" fmla="*/ 864125 h 2083059"/>
                <a:gd name="connsiteX10" fmla="*/ 1701890 w 2066379"/>
                <a:gd name="connsiteY10" fmla="*/ 809009 h 2083059"/>
                <a:gd name="connsiteX11" fmla="*/ 1699083 w 2066379"/>
                <a:gd name="connsiteY11" fmla="*/ 791785 h 2083059"/>
                <a:gd name="connsiteX12" fmla="*/ 1643201 w 2066379"/>
                <a:gd name="connsiteY12" fmla="*/ 761165 h 2083059"/>
                <a:gd name="connsiteX13" fmla="*/ 1626871 w 2066379"/>
                <a:gd name="connsiteY13" fmla="*/ 766778 h 2083059"/>
                <a:gd name="connsiteX14" fmla="*/ 1590254 w 2066379"/>
                <a:gd name="connsiteY14" fmla="*/ 758485 h 2083059"/>
                <a:gd name="connsiteX15" fmla="*/ 1533862 w 2066379"/>
                <a:gd name="connsiteY15" fmla="*/ 698904 h 2083059"/>
                <a:gd name="connsiteX16" fmla="*/ 1504518 w 2066379"/>
                <a:gd name="connsiteY16" fmla="*/ 639322 h 2083059"/>
                <a:gd name="connsiteX17" fmla="*/ 1473515 w 2066379"/>
                <a:gd name="connsiteY17" fmla="*/ 552565 h 2083059"/>
                <a:gd name="connsiteX18" fmla="*/ 1418782 w 2066379"/>
                <a:gd name="connsiteY18" fmla="*/ 500256 h 2083059"/>
                <a:gd name="connsiteX19" fmla="*/ 1443533 w 2066379"/>
                <a:gd name="connsiteY19" fmla="*/ 481373 h 2083059"/>
                <a:gd name="connsiteX20" fmla="*/ 1442384 w 2066379"/>
                <a:gd name="connsiteY20" fmla="*/ 465808 h 2083059"/>
                <a:gd name="connsiteX21" fmla="*/ 1442384 w 2066379"/>
                <a:gd name="connsiteY21" fmla="*/ 462491 h 2083059"/>
                <a:gd name="connsiteX22" fmla="*/ 1466115 w 2066379"/>
                <a:gd name="connsiteY22" fmla="*/ 452412 h 2083059"/>
                <a:gd name="connsiteX23" fmla="*/ 1477980 w 2066379"/>
                <a:gd name="connsiteY23" fmla="*/ 398444 h 2083059"/>
                <a:gd name="connsiteX24" fmla="*/ 1447488 w 2066379"/>
                <a:gd name="connsiteY24" fmla="*/ 384027 h 2083059"/>
                <a:gd name="connsiteX25" fmla="*/ 1445191 w 2066379"/>
                <a:gd name="connsiteY25" fmla="*/ 382368 h 2083059"/>
                <a:gd name="connsiteX26" fmla="*/ 1455398 w 2066379"/>
                <a:gd name="connsiteY26" fmla="*/ 366803 h 2083059"/>
                <a:gd name="connsiteX27" fmla="*/ 1361241 w 2066379"/>
                <a:gd name="connsiteY27" fmla="*/ 317301 h 2083059"/>
                <a:gd name="connsiteX28" fmla="*/ 1349376 w 2066379"/>
                <a:gd name="connsiteY28" fmla="*/ 293953 h 2083059"/>
                <a:gd name="connsiteX29" fmla="*/ 1326794 w 2066379"/>
                <a:gd name="connsiteY29" fmla="*/ 279536 h 2083059"/>
                <a:gd name="connsiteX30" fmla="*/ 1290177 w 2066379"/>
                <a:gd name="connsiteY30" fmla="*/ 197244 h 2083059"/>
                <a:gd name="connsiteX31" fmla="*/ 1294642 w 2066379"/>
                <a:gd name="connsiteY31" fmla="*/ 182828 h 2083059"/>
                <a:gd name="connsiteX32" fmla="*/ 1290177 w 2066379"/>
                <a:gd name="connsiteY32" fmla="*/ 160628 h 2083059"/>
                <a:gd name="connsiteX33" fmla="*/ 1241057 w 2066379"/>
                <a:gd name="connsiteY33" fmla="*/ 133963 h 2083059"/>
                <a:gd name="connsiteX34" fmla="*/ 1212351 w 2066379"/>
                <a:gd name="connsiteY34" fmla="*/ 86119 h 2083059"/>
                <a:gd name="connsiteX35" fmla="*/ 1175097 w 2066379"/>
                <a:gd name="connsiteY35" fmla="*/ 108319 h 2083059"/>
                <a:gd name="connsiteX36" fmla="*/ 1079791 w 2066379"/>
                <a:gd name="connsiteY36" fmla="*/ 105001 h 2083059"/>
                <a:gd name="connsiteX37" fmla="*/ 1045344 w 2066379"/>
                <a:gd name="connsiteY37" fmla="*/ 111636 h 2083059"/>
                <a:gd name="connsiteX38" fmla="*/ 1029013 w 2066379"/>
                <a:gd name="connsiteY38" fmla="*/ 110488 h 2083059"/>
                <a:gd name="connsiteX39" fmla="*/ 1029013 w 2066379"/>
                <a:gd name="connsiteY39" fmla="*/ 90457 h 2083059"/>
                <a:gd name="connsiteX40" fmla="*/ 1013193 w 2066379"/>
                <a:gd name="connsiteY40" fmla="*/ 91605 h 2083059"/>
                <a:gd name="connsiteX41" fmla="*/ 1007579 w 2066379"/>
                <a:gd name="connsiteY41" fmla="*/ 51034 h 2083059"/>
                <a:gd name="connsiteX42" fmla="*/ 1013193 w 2066379"/>
                <a:gd name="connsiteY42" fmla="*/ 37127 h 2083059"/>
                <a:gd name="connsiteX43" fmla="*/ 979893 w 2066379"/>
                <a:gd name="connsiteY43" fmla="*/ 32661 h 2083059"/>
                <a:gd name="connsiteX44" fmla="*/ 931412 w 2066379"/>
                <a:gd name="connsiteY44" fmla="*/ 60985 h 2083059"/>
                <a:gd name="connsiteX45" fmla="*/ 946594 w 2066379"/>
                <a:gd name="connsiteY45" fmla="*/ 117760 h 2083059"/>
                <a:gd name="connsiteX46" fmla="*/ 938173 w 2066379"/>
                <a:gd name="connsiteY46" fmla="*/ 186783 h 2083059"/>
                <a:gd name="connsiteX47" fmla="*/ 891350 w 2066379"/>
                <a:gd name="connsiteY47" fmla="*/ 178490 h 2083059"/>
                <a:gd name="connsiteX48" fmla="*/ 894795 w 2066379"/>
                <a:gd name="connsiteY48" fmla="*/ 143404 h 2083059"/>
                <a:gd name="connsiteX49" fmla="*/ 878464 w 2066379"/>
                <a:gd name="connsiteY49" fmla="*/ 127839 h 2083059"/>
                <a:gd name="connsiteX50" fmla="*/ 855882 w 2066379"/>
                <a:gd name="connsiteY50" fmla="*/ 141235 h 2083059"/>
                <a:gd name="connsiteX51" fmla="*/ 826027 w 2066379"/>
                <a:gd name="connsiteY51" fmla="*/ 128987 h 2083059"/>
                <a:gd name="connsiteX52" fmla="*/ 717709 w 2066379"/>
                <a:gd name="connsiteY52" fmla="*/ 136770 h 2083059"/>
                <a:gd name="connsiteX53" fmla="*/ 727915 w 2066379"/>
                <a:gd name="connsiteY53" fmla="*/ 149528 h 2083059"/>
                <a:gd name="connsiteX54" fmla="*/ 715540 w 2066379"/>
                <a:gd name="connsiteY54" fmla="*/ 160628 h 2083059"/>
                <a:gd name="connsiteX55" fmla="*/ 727915 w 2066379"/>
                <a:gd name="connsiteY55" fmla="*/ 168411 h 2083059"/>
                <a:gd name="connsiteX56" fmla="*/ 756622 w 2066379"/>
                <a:gd name="connsiteY56" fmla="*/ 183465 h 2083059"/>
                <a:gd name="connsiteX57" fmla="*/ 757770 w 2066379"/>
                <a:gd name="connsiteY57" fmla="*/ 201327 h 2083059"/>
                <a:gd name="connsiteX58" fmla="*/ 721154 w 2066379"/>
                <a:gd name="connsiteY58" fmla="*/ 203496 h 2083059"/>
                <a:gd name="connsiteX59" fmla="*/ 716688 w 2066379"/>
                <a:gd name="connsiteY59" fmla="*/ 234116 h 2083059"/>
                <a:gd name="connsiteX60" fmla="*/ 698061 w 2066379"/>
                <a:gd name="connsiteY60" fmla="*/ 212427 h 2083059"/>
                <a:gd name="connsiteX61" fmla="*/ 669354 w 2066379"/>
                <a:gd name="connsiteY61" fmla="*/ 202475 h 2083059"/>
                <a:gd name="connsiteX62" fmla="*/ 667058 w 2066379"/>
                <a:gd name="connsiteY62" fmla="*/ 145701 h 2083059"/>
                <a:gd name="connsiteX63" fmla="*/ 646772 w 2066379"/>
                <a:gd name="connsiteY63" fmla="*/ 123501 h 2083059"/>
                <a:gd name="connsiteX64" fmla="*/ 633759 w 2066379"/>
                <a:gd name="connsiteY64" fmla="*/ 134601 h 2083059"/>
                <a:gd name="connsiteX65" fmla="*/ 610666 w 2066379"/>
                <a:gd name="connsiteY65" fmla="*/ 117887 h 2083059"/>
                <a:gd name="connsiteX66" fmla="*/ 607221 w 2066379"/>
                <a:gd name="connsiteY66" fmla="*/ 101812 h 2083059"/>
                <a:gd name="connsiteX67" fmla="*/ 601607 w 2066379"/>
                <a:gd name="connsiteY67" fmla="*/ 107426 h 2083059"/>
                <a:gd name="connsiteX68" fmla="*/ 579663 w 2066379"/>
                <a:gd name="connsiteY68" fmla="*/ 101812 h 2083059"/>
                <a:gd name="connsiteX69" fmla="*/ 589232 w 2066379"/>
                <a:gd name="connsiteY69" fmla="*/ 86247 h 2083059"/>
                <a:gd name="connsiteX70" fmla="*/ 574049 w 2066379"/>
                <a:gd name="connsiteY70" fmla="*/ 82929 h 2083059"/>
                <a:gd name="connsiteX71" fmla="*/ 560526 w 2066379"/>
                <a:gd name="connsiteY71" fmla="*/ 51161 h 2083059"/>
                <a:gd name="connsiteX72" fmla="*/ 544195 w 2066379"/>
                <a:gd name="connsiteY72" fmla="*/ 44527 h 2083059"/>
                <a:gd name="connsiteX73" fmla="*/ 481041 w 2066379"/>
                <a:gd name="connsiteY73" fmla="*/ 12758 h 2083059"/>
                <a:gd name="connsiteX74" fmla="*/ 470834 w 2066379"/>
                <a:gd name="connsiteY74" fmla="*/ 0 h 2083059"/>
                <a:gd name="connsiteX75" fmla="*/ 446593 w 2066379"/>
                <a:gd name="connsiteY75" fmla="*/ 20541 h 2083059"/>
                <a:gd name="connsiteX76" fmla="*/ 436387 w 2066379"/>
                <a:gd name="connsiteY76" fmla="*/ 61113 h 2083059"/>
                <a:gd name="connsiteX77" fmla="*/ 387905 w 2066379"/>
                <a:gd name="connsiteY77" fmla="*/ 101684 h 2083059"/>
                <a:gd name="connsiteX78" fmla="*/ 324751 w 2066379"/>
                <a:gd name="connsiteY78" fmla="*/ 122225 h 2083059"/>
                <a:gd name="connsiteX79" fmla="*/ 313523 w 2066379"/>
                <a:gd name="connsiteY79" fmla="*/ 171728 h 2083059"/>
                <a:gd name="connsiteX80" fmla="*/ 284817 w 2066379"/>
                <a:gd name="connsiteY80" fmla="*/ 210130 h 2083059"/>
                <a:gd name="connsiteX81" fmla="*/ 259428 w 2066379"/>
                <a:gd name="connsiteY81" fmla="*/ 220720 h 2083059"/>
                <a:gd name="connsiteX82" fmla="*/ 236335 w 2066379"/>
                <a:gd name="connsiteY82" fmla="*/ 210130 h 2083059"/>
                <a:gd name="connsiteX83" fmla="*/ 225108 w 2066379"/>
                <a:gd name="connsiteY83" fmla="*/ 200179 h 2083059"/>
                <a:gd name="connsiteX84" fmla="*/ 213242 w 2066379"/>
                <a:gd name="connsiteY84" fmla="*/ 211279 h 2083059"/>
                <a:gd name="connsiteX85" fmla="*/ 220004 w 2066379"/>
                <a:gd name="connsiteY85" fmla="*/ 228502 h 2083059"/>
                <a:gd name="connsiteX86" fmla="*/ 217708 w 2066379"/>
                <a:gd name="connsiteY86" fmla="*/ 242919 h 2083059"/>
                <a:gd name="connsiteX87" fmla="*/ 231870 w 2066379"/>
                <a:gd name="connsiteY87" fmla="*/ 252361 h 2083059"/>
                <a:gd name="connsiteX88" fmla="*/ 230721 w 2066379"/>
                <a:gd name="connsiteY88" fmla="*/ 291912 h 2083059"/>
                <a:gd name="connsiteX89" fmla="*/ 182240 w 2066379"/>
                <a:gd name="connsiteY89" fmla="*/ 300842 h 2083059"/>
                <a:gd name="connsiteX90" fmla="*/ 171012 w 2066379"/>
                <a:gd name="connsiteY90" fmla="*/ 273540 h 2083059"/>
                <a:gd name="connsiteX91" fmla="*/ 153533 w 2066379"/>
                <a:gd name="connsiteY91" fmla="*/ 260143 h 2083059"/>
                <a:gd name="connsiteX92" fmla="*/ 141158 w 2066379"/>
                <a:gd name="connsiteY92" fmla="*/ 273540 h 2083059"/>
                <a:gd name="connsiteX93" fmla="*/ 100586 w 2066379"/>
                <a:gd name="connsiteY93" fmla="*/ 256826 h 2083059"/>
                <a:gd name="connsiteX94" fmla="*/ 74687 w 2066379"/>
                <a:gd name="connsiteY94" fmla="*/ 296377 h 2083059"/>
                <a:gd name="connsiteX95" fmla="*/ 58356 w 2066379"/>
                <a:gd name="connsiteY95" fmla="*/ 263588 h 2083059"/>
                <a:gd name="connsiteX96" fmla="*/ 48149 w 2066379"/>
                <a:gd name="connsiteY96" fmla="*/ 275836 h 2083059"/>
                <a:gd name="connsiteX97" fmla="*/ 23908 w 2066379"/>
                <a:gd name="connsiteY97" fmla="*/ 279153 h 2083059"/>
                <a:gd name="connsiteX98" fmla="*/ 20463 w 2066379"/>
                <a:gd name="connsiteY98" fmla="*/ 329166 h 2083059"/>
                <a:gd name="connsiteX99" fmla="*/ 18167 w 2066379"/>
                <a:gd name="connsiteY99" fmla="*/ 405971 h 2083059"/>
                <a:gd name="connsiteX100" fmla="*/ 27225 w 2066379"/>
                <a:gd name="connsiteY100" fmla="*/ 458281 h 2083059"/>
                <a:gd name="connsiteX101" fmla="*/ 48149 w 2066379"/>
                <a:gd name="connsiteY101" fmla="*/ 448840 h 2083059"/>
                <a:gd name="connsiteX102" fmla="*/ 39729 w 2066379"/>
                <a:gd name="connsiteY102" fmla="*/ 481629 h 2083059"/>
                <a:gd name="connsiteX103" fmla="*/ 51594 w 2066379"/>
                <a:gd name="connsiteY103" fmla="*/ 501149 h 2083059"/>
                <a:gd name="connsiteX104" fmla="*/ 45980 w 2066379"/>
                <a:gd name="connsiteY104" fmla="*/ 540700 h 2083059"/>
                <a:gd name="connsiteX105" fmla="*/ 42025 w 2066379"/>
                <a:gd name="connsiteY105" fmla="*/ 576806 h 2083059"/>
                <a:gd name="connsiteX106" fmla="*/ 30798 w 2066379"/>
                <a:gd name="connsiteY106" fmla="*/ 594030 h 2083059"/>
                <a:gd name="connsiteX107" fmla="*/ 44959 w 2066379"/>
                <a:gd name="connsiteY107" fmla="*/ 625160 h 2083059"/>
                <a:gd name="connsiteX108" fmla="*/ 72007 w 2066379"/>
                <a:gd name="connsiteY108" fmla="*/ 620695 h 2083059"/>
                <a:gd name="connsiteX109" fmla="*/ 86169 w 2066379"/>
                <a:gd name="connsiteY109" fmla="*/ 628988 h 2083059"/>
                <a:gd name="connsiteX110" fmla="*/ 101989 w 2066379"/>
                <a:gd name="connsiteY110" fmla="*/ 628988 h 2083059"/>
                <a:gd name="connsiteX111" fmla="*/ 105945 w 2066379"/>
                <a:gd name="connsiteY111" fmla="*/ 613933 h 2083059"/>
                <a:gd name="connsiteX112" fmla="*/ 119468 w 2066379"/>
                <a:gd name="connsiteY112" fmla="*/ 606150 h 2083059"/>
                <a:gd name="connsiteX113" fmla="*/ 120617 w 2066379"/>
                <a:gd name="connsiteY113" fmla="*/ 579996 h 2083059"/>
                <a:gd name="connsiteX114" fmla="*/ 153916 w 2066379"/>
                <a:gd name="connsiteY114" fmla="*/ 574382 h 2083059"/>
                <a:gd name="connsiteX115" fmla="*/ 159530 w 2066379"/>
                <a:gd name="connsiteY115" fmla="*/ 586630 h 2083059"/>
                <a:gd name="connsiteX116" fmla="*/ 178157 w 2066379"/>
                <a:gd name="connsiteY116" fmla="*/ 577699 h 2083059"/>
                <a:gd name="connsiteX117" fmla="*/ 184919 w 2066379"/>
                <a:gd name="connsiteY117" fmla="*/ 544910 h 2083059"/>
                <a:gd name="connsiteX118" fmla="*/ 172543 w 2066379"/>
                <a:gd name="connsiteY118" fmla="*/ 526028 h 2083059"/>
                <a:gd name="connsiteX119" fmla="*/ 143837 w 2066379"/>
                <a:gd name="connsiteY119" fmla="*/ 543890 h 2083059"/>
                <a:gd name="connsiteX120" fmla="*/ 155064 w 2066379"/>
                <a:gd name="connsiteY120" fmla="*/ 533810 h 2083059"/>
                <a:gd name="connsiteX121" fmla="*/ 137075 w 2066379"/>
                <a:gd name="connsiteY121" fmla="*/ 527176 h 2083059"/>
                <a:gd name="connsiteX122" fmla="*/ 138223 w 2066379"/>
                <a:gd name="connsiteY122" fmla="*/ 506635 h 2083059"/>
                <a:gd name="connsiteX123" fmla="*/ 180581 w 2066379"/>
                <a:gd name="connsiteY123" fmla="*/ 494387 h 2083059"/>
                <a:gd name="connsiteX124" fmla="*/ 198060 w 2066379"/>
                <a:gd name="connsiteY124" fmla="*/ 504466 h 2083059"/>
                <a:gd name="connsiteX125" fmla="*/ 209287 w 2066379"/>
                <a:gd name="connsiteY125" fmla="*/ 493366 h 2083059"/>
                <a:gd name="connsiteX126" fmla="*/ 237994 w 2066379"/>
                <a:gd name="connsiteY126" fmla="*/ 513397 h 2083059"/>
                <a:gd name="connsiteX127" fmla="*/ 243607 w 2066379"/>
                <a:gd name="connsiteY127" fmla="*/ 528452 h 2083059"/>
                <a:gd name="connsiteX128" fmla="*/ 244756 w 2066379"/>
                <a:gd name="connsiteY128" fmla="*/ 498980 h 2083059"/>
                <a:gd name="connsiteX129" fmla="*/ 273462 w 2066379"/>
                <a:gd name="connsiteY129" fmla="*/ 489539 h 2083059"/>
                <a:gd name="connsiteX130" fmla="*/ 264404 w 2066379"/>
                <a:gd name="connsiteY130" fmla="*/ 522328 h 2083059"/>
                <a:gd name="connsiteX131" fmla="*/ 271166 w 2066379"/>
                <a:gd name="connsiteY131" fmla="*/ 555117 h 2083059"/>
                <a:gd name="connsiteX132" fmla="*/ 287496 w 2066379"/>
                <a:gd name="connsiteY132" fmla="*/ 555117 h 2083059"/>
                <a:gd name="connsiteX133" fmla="*/ 288645 w 2066379"/>
                <a:gd name="connsiteY133" fmla="*/ 535086 h 2083059"/>
                <a:gd name="connsiteX134" fmla="*/ 298851 w 2066379"/>
                <a:gd name="connsiteY134" fmla="*/ 531769 h 2083059"/>
                <a:gd name="connsiteX135" fmla="*/ 316330 w 2066379"/>
                <a:gd name="connsiteY135" fmla="*/ 558434 h 2083059"/>
                <a:gd name="connsiteX136" fmla="*/ 329854 w 2066379"/>
                <a:gd name="connsiteY136" fmla="*/ 535086 h 2083059"/>
                <a:gd name="connsiteX137" fmla="*/ 337764 w 2066379"/>
                <a:gd name="connsiteY137" fmla="*/ 545038 h 2083059"/>
                <a:gd name="connsiteX138" fmla="*/ 352947 w 2066379"/>
                <a:gd name="connsiteY138" fmla="*/ 550651 h 2083059"/>
                <a:gd name="connsiteX139" fmla="*/ 351798 w 2066379"/>
                <a:gd name="connsiteY139" fmla="*/ 577954 h 2083059"/>
                <a:gd name="connsiteX140" fmla="*/ 368767 w 2066379"/>
                <a:gd name="connsiteY140" fmla="*/ 604109 h 2083059"/>
                <a:gd name="connsiteX141" fmla="*/ 340061 w 2066379"/>
                <a:gd name="connsiteY141" fmla="*/ 636898 h 2083059"/>
                <a:gd name="connsiteX142" fmla="*/ 355243 w 2066379"/>
                <a:gd name="connsiteY142" fmla="*/ 643532 h 2083059"/>
                <a:gd name="connsiteX143" fmla="*/ 376167 w 2066379"/>
                <a:gd name="connsiteY143" fmla="*/ 619547 h 2083059"/>
                <a:gd name="connsiteX144" fmla="*/ 385225 w 2066379"/>
                <a:gd name="connsiteY144" fmla="*/ 686273 h 2083059"/>
                <a:gd name="connsiteX145" fmla="*/ 429752 w 2066379"/>
                <a:gd name="connsiteY145" fmla="*/ 686273 h 2083059"/>
                <a:gd name="connsiteX146" fmla="*/ 447231 w 2066379"/>
                <a:gd name="connsiteY146" fmla="*/ 646722 h 2083059"/>
                <a:gd name="connsiteX147" fmla="*/ 465858 w 2066379"/>
                <a:gd name="connsiteY147" fmla="*/ 669559 h 2083059"/>
                <a:gd name="connsiteX148" fmla="*/ 469303 w 2066379"/>
                <a:gd name="connsiteY148" fmla="*/ 697883 h 2083059"/>
                <a:gd name="connsiteX149" fmla="*/ 456290 w 2066379"/>
                <a:gd name="connsiteY149" fmla="*/ 717914 h 2083059"/>
                <a:gd name="connsiteX150" fmla="*/ 472620 w 2066379"/>
                <a:gd name="connsiteY150" fmla="*/ 719062 h 2083059"/>
                <a:gd name="connsiteX151" fmla="*/ 488441 w 2066379"/>
                <a:gd name="connsiteY151" fmla="*/ 744068 h 2083059"/>
                <a:gd name="connsiteX152" fmla="*/ 467007 w 2066379"/>
                <a:gd name="connsiteY152" fmla="*/ 749682 h 2083059"/>
                <a:gd name="connsiteX153" fmla="*/ 470451 w 2066379"/>
                <a:gd name="connsiteY153" fmla="*/ 760782 h 2083059"/>
                <a:gd name="connsiteX154" fmla="*/ 478362 w 2066379"/>
                <a:gd name="connsiteY154" fmla="*/ 790254 h 2083059"/>
                <a:gd name="connsiteX155" fmla="*/ 479510 w 2066379"/>
                <a:gd name="connsiteY155" fmla="*/ 820874 h 2083059"/>
                <a:gd name="connsiteX156" fmla="*/ 467134 w 2066379"/>
                <a:gd name="connsiteY156" fmla="*/ 827508 h 2083059"/>
                <a:gd name="connsiteX157" fmla="*/ 479510 w 2066379"/>
                <a:gd name="connsiteY157" fmla="*/ 874204 h 2083059"/>
                <a:gd name="connsiteX158" fmla="*/ 525695 w 2066379"/>
                <a:gd name="connsiteY158" fmla="*/ 902527 h 2083059"/>
                <a:gd name="connsiteX159" fmla="*/ 527992 w 2066379"/>
                <a:gd name="connsiteY159" fmla="*/ 912479 h 2083059"/>
                <a:gd name="connsiteX160" fmla="*/ 508216 w 2066379"/>
                <a:gd name="connsiteY160" fmla="*/ 926896 h 2083059"/>
                <a:gd name="connsiteX161" fmla="*/ 534116 w 2066379"/>
                <a:gd name="connsiteY161" fmla="*/ 974230 h 2083059"/>
                <a:gd name="connsiteX162" fmla="*/ 566777 w 2066379"/>
                <a:gd name="connsiteY162" fmla="*/ 979205 h 2083059"/>
                <a:gd name="connsiteX163" fmla="*/ 600076 w 2066379"/>
                <a:gd name="connsiteY163" fmla="*/ 1053714 h 2083059"/>
                <a:gd name="connsiteX164" fmla="*/ 597780 w 2066379"/>
                <a:gd name="connsiteY164" fmla="*/ 1099900 h 2083059"/>
                <a:gd name="connsiteX165" fmla="*/ 609007 w 2066379"/>
                <a:gd name="connsiteY165" fmla="*/ 1106534 h 2083059"/>
                <a:gd name="connsiteX166" fmla="*/ 594335 w 2066379"/>
                <a:gd name="connsiteY166" fmla="*/ 1138302 h 2083059"/>
                <a:gd name="connsiteX167" fmla="*/ 596632 w 2066379"/>
                <a:gd name="connsiteY167" fmla="*/ 1159991 h 2083059"/>
                <a:gd name="connsiteX168" fmla="*/ 612452 w 2066379"/>
                <a:gd name="connsiteY168" fmla="*/ 1158843 h 2083059"/>
                <a:gd name="connsiteX169" fmla="*/ 624317 w 2066379"/>
                <a:gd name="connsiteY169" fmla="*/ 1192780 h 2083059"/>
                <a:gd name="connsiteX170" fmla="*/ 593315 w 2066379"/>
                <a:gd name="connsiteY170" fmla="*/ 1214470 h 2083059"/>
                <a:gd name="connsiteX171" fmla="*/ 586553 w 2066379"/>
                <a:gd name="connsiteY171" fmla="*/ 1184998 h 2083059"/>
                <a:gd name="connsiteX172" fmla="*/ 582598 w 2066379"/>
                <a:gd name="connsiteY172" fmla="*/ 1198394 h 2083059"/>
                <a:gd name="connsiteX173" fmla="*/ 570222 w 2066379"/>
                <a:gd name="connsiteY173" fmla="*/ 1204008 h 2083059"/>
                <a:gd name="connsiteX174" fmla="*/ 539219 w 2066379"/>
                <a:gd name="connsiteY174" fmla="*/ 1183977 h 2083059"/>
                <a:gd name="connsiteX175" fmla="*/ 526843 w 2066379"/>
                <a:gd name="connsiteY175" fmla="*/ 1217914 h 2083059"/>
                <a:gd name="connsiteX176" fmla="*/ 555550 w 2066379"/>
                <a:gd name="connsiteY176" fmla="*/ 1235776 h 2083059"/>
                <a:gd name="connsiteX177" fmla="*/ 547129 w 2066379"/>
                <a:gd name="connsiteY177" fmla="*/ 1248535 h 2083059"/>
                <a:gd name="connsiteX178" fmla="*/ 544833 w 2066379"/>
                <a:gd name="connsiteY178" fmla="*/ 1288086 h 2083059"/>
                <a:gd name="connsiteX179" fmla="*/ 509364 w 2066379"/>
                <a:gd name="connsiteY179" fmla="*/ 1300334 h 2083059"/>
                <a:gd name="connsiteX180" fmla="*/ 512809 w 2066379"/>
                <a:gd name="connsiteY180" fmla="*/ 1312582 h 2083059"/>
                <a:gd name="connsiteX181" fmla="*/ 490865 w 2066379"/>
                <a:gd name="connsiteY181" fmla="*/ 1322023 h 2083059"/>
                <a:gd name="connsiteX182" fmla="*/ 485251 w 2066379"/>
                <a:gd name="connsiteY182" fmla="*/ 1334271 h 2083059"/>
                <a:gd name="connsiteX183" fmla="*/ 476193 w 2066379"/>
                <a:gd name="connsiteY183" fmla="*/ 1339885 h 2083059"/>
                <a:gd name="connsiteX184" fmla="*/ 456417 w 2066379"/>
                <a:gd name="connsiteY184" fmla="*/ 1330954 h 2083059"/>
                <a:gd name="connsiteX185" fmla="*/ 425414 w 2066379"/>
                <a:gd name="connsiteY185" fmla="*/ 1333123 h 2083059"/>
                <a:gd name="connsiteX186" fmla="*/ 431028 w 2066379"/>
                <a:gd name="connsiteY186" fmla="*/ 1353664 h 2083059"/>
                <a:gd name="connsiteX187" fmla="*/ 411890 w 2066379"/>
                <a:gd name="connsiteY187" fmla="*/ 1378160 h 2083059"/>
                <a:gd name="connsiteX188" fmla="*/ 411890 w 2066379"/>
                <a:gd name="connsiteY188" fmla="*/ 1402145 h 2083059"/>
                <a:gd name="connsiteX189" fmla="*/ 447359 w 2066379"/>
                <a:gd name="connsiteY189" fmla="*/ 1491709 h 2083059"/>
                <a:gd name="connsiteX190" fmla="*/ 477213 w 2066379"/>
                <a:gd name="connsiteY190" fmla="*/ 1560732 h 2083059"/>
                <a:gd name="connsiteX191" fmla="*/ 464838 w 2066379"/>
                <a:gd name="connsiteY191" fmla="*/ 1577445 h 2083059"/>
                <a:gd name="connsiteX192" fmla="*/ 479510 w 2066379"/>
                <a:gd name="connsiteY192" fmla="*/ 1583059 h 2083059"/>
                <a:gd name="connsiteX193" fmla="*/ 460883 w 2066379"/>
                <a:gd name="connsiteY193" fmla="*/ 1608066 h 2083059"/>
                <a:gd name="connsiteX194" fmla="*/ 463689 w 2066379"/>
                <a:gd name="connsiteY194" fmla="*/ 1634220 h 2083059"/>
                <a:gd name="connsiteX195" fmla="*/ 447359 w 2066379"/>
                <a:gd name="connsiteY195" fmla="*/ 1656420 h 2083059"/>
                <a:gd name="connsiteX196" fmla="*/ 458586 w 2066379"/>
                <a:gd name="connsiteY196" fmla="*/ 1668158 h 2083059"/>
                <a:gd name="connsiteX197" fmla="*/ 447359 w 2066379"/>
                <a:gd name="connsiteY197" fmla="*/ 1713195 h 2083059"/>
                <a:gd name="connsiteX198" fmla="*/ 463689 w 2066379"/>
                <a:gd name="connsiteY198" fmla="*/ 1740497 h 2083059"/>
                <a:gd name="connsiteX199" fmla="*/ 438300 w 2066379"/>
                <a:gd name="connsiteY199" fmla="*/ 1758359 h 2083059"/>
                <a:gd name="connsiteX200" fmla="*/ 469303 w 2066379"/>
                <a:gd name="connsiteY200" fmla="*/ 1817303 h 2083059"/>
                <a:gd name="connsiteX201" fmla="*/ 439449 w 2066379"/>
                <a:gd name="connsiteY201" fmla="*/ 1851240 h 2083059"/>
                <a:gd name="connsiteX202" fmla="*/ 423118 w 2066379"/>
                <a:gd name="connsiteY202" fmla="*/ 1831210 h 2083059"/>
                <a:gd name="connsiteX203" fmla="*/ 401173 w 2066379"/>
                <a:gd name="connsiteY203" fmla="*/ 1826234 h 2083059"/>
                <a:gd name="connsiteX204" fmla="*/ 392115 w 2066379"/>
                <a:gd name="connsiteY204" fmla="*/ 1843457 h 2083059"/>
                <a:gd name="connsiteX205" fmla="*/ 334575 w 2066379"/>
                <a:gd name="connsiteY205" fmla="*/ 1834527 h 2083059"/>
                <a:gd name="connsiteX206" fmla="*/ 251645 w 2066379"/>
                <a:gd name="connsiteY206" fmla="*/ 1874078 h 2083059"/>
                <a:gd name="connsiteX207" fmla="*/ 236973 w 2066379"/>
                <a:gd name="connsiteY207" fmla="*/ 1891939 h 2083059"/>
                <a:gd name="connsiteX208" fmla="*/ 236973 w 2066379"/>
                <a:gd name="connsiteY208" fmla="*/ 1891939 h 2083059"/>
                <a:gd name="connsiteX209" fmla="*/ 238121 w 2066379"/>
                <a:gd name="connsiteY209" fmla="*/ 1892450 h 2083059"/>
                <a:gd name="connsiteX210" fmla="*/ 238632 w 2066379"/>
                <a:gd name="connsiteY210" fmla="*/ 1892960 h 2083059"/>
                <a:gd name="connsiteX211" fmla="*/ 274738 w 2066379"/>
                <a:gd name="connsiteY211" fmla="*/ 1915160 h 2083059"/>
                <a:gd name="connsiteX212" fmla="*/ 287113 w 2066379"/>
                <a:gd name="connsiteY212" fmla="*/ 1895639 h 2083059"/>
                <a:gd name="connsiteX213" fmla="*/ 318754 w 2066379"/>
                <a:gd name="connsiteY213" fmla="*/ 1878926 h 2083059"/>
                <a:gd name="connsiteX214" fmla="*/ 319903 w 2066379"/>
                <a:gd name="connsiteY214" fmla="*/ 1901763 h 2083059"/>
                <a:gd name="connsiteX215" fmla="*/ 318754 w 2066379"/>
                <a:gd name="connsiteY215" fmla="*/ 1905080 h 2083059"/>
                <a:gd name="connsiteX216" fmla="*/ 321051 w 2066379"/>
                <a:gd name="connsiteY216" fmla="*/ 1905591 h 2083059"/>
                <a:gd name="connsiteX217" fmla="*/ 342485 w 2066379"/>
                <a:gd name="connsiteY217" fmla="*/ 1913884 h 2083059"/>
                <a:gd name="connsiteX218" fmla="*/ 342995 w 2066379"/>
                <a:gd name="connsiteY218" fmla="*/ 1913884 h 2083059"/>
                <a:gd name="connsiteX219" fmla="*/ 365578 w 2066379"/>
                <a:gd name="connsiteY219" fmla="*/ 1914394 h 2083059"/>
                <a:gd name="connsiteX220" fmla="*/ 383057 w 2066379"/>
                <a:gd name="connsiteY220" fmla="*/ 1921666 h 2083059"/>
                <a:gd name="connsiteX221" fmla="*/ 382546 w 2066379"/>
                <a:gd name="connsiteY221" fmla="*/ 1922815 h 2083059"/>
                <a:gd name="connsiteX222" fmla="*/ 382546 w 2066379"/>
                <a:gd name="connsiteY222" fmla="*/ 1922815 h 2083059"/>
                <a:gd name="connsiteX223" fmla="*/ 382546 w 2066379"/>
                <a:gd name="connsiteY223" fmla="*/ 1923325 h 2083059"/>
                <a:gd name="connsiteX224" fmla="*/ 393263 w 2066379"/>
                <a:gd name="connsiteY224" fmla="*/ 1935573 h 2083059"/>
                <a:gd name="connsiteX225" fmla="*/ 398877 w 2066379"/>
                <a:gd name="connsiteY225" fmla="*/ 1947311 h 2083059"/>
                <a:gd name="connsiteX226" fmla="*/ 418652 w 2066379"/>
                <a:gd name="connsiteY226" fmla="*/ 1954583 h 2083059"/>
                <a:gd name="connsiteX227" fmla="*/ 418652 w 2066379"/>
                <a:gd name="connsiteY227" fmla="*/ 1954583 h 2083059"/>
                <a:gd name="connsiteX228" fmla="*/ 418652 w 2066379"/>
                <a:gd name="connsiteY228" fmla="*/ 1955731 h 2083059"/>
                <a:gd name="connsiteX229" fmla="*/ 429880 w 2066379"/>
                <a:gd name="connsiteY229" fmla="*/ 1965172 h 2083059"/>
                <a:gd name="connsiteX230" fmla="*/ 437152 w 2066379"/>
                <a:gd name="connsiteY230" fmla="*/ 1974103 h 2083059"/>
                <a:gd name="connsiteX231" fmla="*/ 437152 w 2066379"/>
                <a:gd name="connsiteY231" fmla="*/ 1974103 h 2083059"/>
                <a:gd name="connsiteX232" fmla="*/ 437152 w 2066379"/>
                <a:gd name="connsiteY232" fmla="*/ 1974614 h 2083059"/>
                <a:gd name="connsiteX233" fmla="*/ 425287 w 2066379"/>
                <a:gd name="connsiteY233" fmla="*/ 1991837 h 2083059"/>
                <a:gd name="connsiteX234" fmla="*/ 426435 w 2066379"/>
                <a:gd name="connsiteY234" fmla="*/ 1992348 h 2083059"/>
                <a:gd name="connsiteX235" fmla="*/ 425287 w 2066379"/>
                <a:gd name="connsiteY235" fmla="*/ 1992858 h 2083059"/>
                <a:gd name="connsiteX236" fmla="*/ 439959 w 2066379"/>
                <a:gd name="connsiteY236" fmla="*/ 2028964 h 2083059"/>
                <a:gd name="connsiteX237" fmla="*/ 470962 w 2066379"/>
                <a:gd name="connsiteY237" fmla="*/ 2017865 h 2083059"/>
                <a:gd name="connsiteX238" fmla="*/ 491248 w 2066379"/>
                <a:gd name="connsiteY238" fmla="*/ 2012889 h 2083059"/>
                <a:gd name="connsiteX239" fmla="*/ 500306 w 2066379"/>
                <a:gd name="connsiteY239" fmla="*/ 2019013 h 2083059"/>
                <a:gd name="connsiteX240" fmla="*/ 484486 w 2066379"/>
                <a:gd name="connsiteY240" fmla="*/ 2046316 h 2083059"/>
                <a:gd name="connsiteX241" fmla="*/ 484486 w 2066379"/>
                <a:gd name="connsiteY241" fmla="*/ 2046316 h 2083059"/>
                <a:gd name="connsiteX242" fmla="*/ 484486 w 2066379"/>
                <a:gd name="connsiteY242" fmla="*/ 2047464 h 2083059"/>
                <a:gd name="connsiteX243" fmla="*/ 474917 w 2066379"/>
                <a:gd name="connsiteY243" fmla="*/ 2080891 h 2083059"/>
                <a:gd name="connsiteX244" fmla="*/ 474917 w 2066379"/>
                <a:gd name="connsiteY244" fmla="*/ 2080891 h 2083059"/>
                <a:gd name="connsiteX245" fmla="*/ 479382 w 2066379"/>
                <a:gd name="connsiteY245" fmla="*/ 2083060 h 2083059"/>
                <a:gd name="connsiteX246" fmla="*/ 509875 w 2066379"/>
                <a:gd name="connsiteY246" fmla="*/ 2079105 h 2083059"/>
                <a:gd name="connsiteX247" fmla="*/ 514340 w 2066379"/>
                <a:gd name="connsiteY247" fmla="*/ 2077446 h 2083059"/>
                <a:gd name="connsiteX248" fmla="*/ 521612 w 2066379"/>
                <a:gd name="connsiteY248" fmla="*/ 2073491 h 2083059"/>
                <a:gd name="connsiteX249" fmla="*/ 541898 w 2066379"/>
                <a:gd name="connsiteY249" fmla="*/ 2061243 h 2083059"/>
                <a:gd name="connsiteX250" fmla="*/ 549809 w 2066379"/>
                <a:gd name="connsiteY250" fmla="*/ 2052950 h 2083059"/>
                <a:gd name="connsiteX251" fmla="*/ 567287 w 2066379"/>
                <a:gd name="connsiteY251" fmla="*/ 2030751 h 2083059"/>
                <a:gd name="connsiteX252" fmla="*/ 568946 w 2066379"/>
                <a:gd name="connsiteY252" fmla="*/ 2020671 h 2083059"/>
                <a:gd name="connsiteX253" fmla="*/ 581322 w 2066379"/>
                <a:gd name="connsiteY253" fmla="*/ 2015058 h 2083059"/>
                <a:gd name="connsiteX254" fmla="*/ 586425 w 2066379"/>
                <a:gd name="connsiteY254" fmla="*/ 2012251 h 2083059"/>
                <a:gd name="connsiteX255" fmla="*/ 590380 w 2066379"/>
                <a:gd name="connsiteY255" fmla="*/ 2012251 h 2083059"/>
                <a:gd name="connsiteX256" fmla="*/ 593187 w 2066379"/>
                <a:gd name="connsiteY256" fmla="*/ 1990051 h 2083059"/>
                <a:gd name="connsiteX257" fmla="*/ 601607 w 2066379"/>
                <a:gd name="connsiteY257" fmla="*/ 1982269 h 2083059"/>
                <a:gd name="connsiteX258" fmla="*/ 603266 w 2066379"/>
                <a:gd name="connsiteY258" fmla="*/ 1972190 h 2083059"/>
                <a:gd name="connsiteX259" fmla="*/ 601607 w 2066379"/>
                <a:gd name="connsiteY259" fmla="*/ 1947183 h 2083059"/>
                <a:gd name="connsiteX260" fmla="*/ 593187 w 2066379"/>
                <a:gd name="connsiteY260" fmla="*/ 1926642 h 2083059"/>
                <a:gd name="connsiteX261" fmla="*/ 596632 w 2066379"/>
                <a:gd name="connsiteY261" fmla="*/ 1899339 h 2083059"/>
                <a:gd name="connsiteX262" fmla="*/ 590380 w 2066379"/>
                <a:gd name="connsiteY262" fmla="*/ 1892705 h 2083059"/>
                <a:gd name="connsiteX263" fmla="*/ 602245 w 2066379"/>
                <a:gd name="connsiteY263" fmla="*/ 1883774 h 2083059"/>
                <a:gd name="connsiteX264" fmla="*/ 624190 w 2066379"/>
                <a:gd name="connsiteY264" fmla="*/ 1913756 h 2083059"/>
                <a:gd name="connsiteX265" fmla="*/ 648941 w 2066379"/>
                <a:gd name="connsiteY265" fmla="*/ 1915415 h 2083059"/>
                <a:gd name="connsiteX266" fmla="*/ 662465 w 2066379"/>
                <a:gd name="connsiteY266" fmla="*/ 1896532 h 2083059"/>
                <a:gd name="connsiteX267" fmla="*/ 665272 w 2066379"/>
                <a:gd name="connsiteY267" fmla="*/ 1896022 h 2083059"/>
                <a:gd name="connsiteX268" fmla="*/ 679434 w 2066379"/>
                <a:gd name="connsiteY268" fmla="*/ 1899339 h 2083059"/>
                <a:gd name="connsiteX269" fmla="*/ 706481 w 2066379"/>
                <a:gd name="connsiteY269" fmla="*/ 1909418 h 2083059"/>
                <a:gd name="connsiteX270" fmla="*/ 715540 w 2066379"/>
                <a:gd name="connsiteY270" fmla="*/ 1912736 h 2083059"/>
                <a:gd name="connsiteX271" fmla="*/ 725746 w 2066379"/>
                <a:gd name="connsiteY271" fmla="*/ 1914394 h 2083059"/>
                <a:gd name="connsiteX272" fmla="*/ 741567 w 2066379"/>
                <a:gd name="connsiteY272" fmla="*/ 1926132 h 2083059"/>
                <a:gd name="connsiteX273" fmla="*/ 743863 w 2066379"/>
                <a:gd name="connsiteY273" fmla="*/ 1926642 h 2083059"/>
                <a:gd name="connsiteX274" fmla="*/ 746160 w 2066379"/>
                <a:gd name="connsiteY274" fmla="*/ 1926132 h 2083059"/>
                <a:gd name="connsiteX275" fmla="*/ 796300 w 2066379"/>
                <a:gd name="connsiteY275" fmla="*/ 1926642 h 2083059"/>
                <a:gd name="connsiteX276" fmla="*/ 783287 w 2066379"/>
                <a:gd name="connsiteY276" fmla="*/ 1945524 h 2083059"/>
                <a:gd name="connsiteX277" fmla="*/ 799107 w 2066379"/>
                <a:gd name="connsiteY277" fmla="*/ 1949990 h 2083059"/>
                <a:gd name="connsiteX278" fmla="*/ 809824 w 2066379"/>
                <a:gd name="connsiteY278" fmla="*/ 1959431 h 2083059"/>
                <a:gd name="connsiteX279" fmla="*/ 831769 w 2066379"/>
                <a:gd name="connsiteY279" fmla="*/ 1990562 h 2083059"/>
                <a:gd name="connsiteX280" fmla="*/ 896581 w 2066379"/>
                <a:gd name="connsiteY280" fmla="*/ 2005616 h 2083059"/>
                <a:gd name="connsiteX281" fmla="*/ 936642 w 2066379"/>
                <a:gd name="connsiteY281" fmla="*/ 1984438 h 2083059"/>
                <a:gd name="connsiteX282" fmla="*/ 940598 w 2066379"/>
                <a:gd name="connsiteY282" fmla="*/ 2006127 h 2083059"/>
                <a:gd name="connsiteX283" fmla="*/ 964328 w 2066379"/>
                <a:gd name="connsiteY283" fmla="*/ 2006637 h 2083059"/>
                <a:gd name="connsiteX284" fmla="*/ 971600 w 2066379"/>
                <a:gd name="connsiteY284" fmla="*/ 1996558 h 2083059"/>
                <a:gd name="connsiteX285" fmla="*/ 981807 w 2066379"/>
                <a:gd name="connsiteY285" fmla="*/ 1983800 h 2083059"/>
                <a:gd name="connsiteX286" fmla="*/ 986910 w 2066379"/>
                <a:gd name="connsiteY286" fmla="*/ 1978186 h 2083059"/>
                <a:gd name="connsiteX287" fmla="*/ 1006048 w 2066379"/>
                <a:gd name="connsiteY287" fmla="*/ 1975379 h 2083059"/>
                <a:gd name="connsiteX288" fmla="*/ 1023017 w 2066379"/>
                <a:gd name="connsiteY288" fmla="*/ 1975379 h 2083059"/>
                <a:gd name="connsiteX289" fmla="*/ 1024165 w 2066379"/>
                <a:gd name="connsiteY289" fmla="*/ 1970914 h 2083059"/>
                <a:gd name="connsiteX290" fmla="*/ 1013958 w 2066379"/>
                <a:gd name="connsiteY290" fmla="*/ 1960324 h 2083059"/>
                <a:gd name="connsiteX291" fmla="*/ 1026334 w 2066379"/>
                <a:gd name="connsiteY291" fmla="*/ 1938635 h 2083059"/>
                <a:gd name="connsiteX292" fmla="*/ 1042154 w 2066379"/>
                <a:gd name="connsiteY292" fmla="*/ 1935828 h 2083059"/>
                <a:gd name="connsiteX293" fmla="*/ 1101991 w 2066379"/>
                <a:gd name="connsiteY293" fmla="*/ 1921922 h 2083059"/>
                <a:gd name="connsiteX294" fmla="*/ 1105436 w 2066379"/>
                <a:gd name="connsiteY294" fmla="*/ 1895257 h 2083059"/>
                <a:gd name="connsiteX295" fmla="*/ 1120618 w 2066379"/>
                <a:gd name="connsiteY295" fmla="*/ 1886326 h 2083059"/>
                <a:gd name="connsiteX296" fmla="*/ 1133632 w 2066379"/>
                <a:gd name="connsiteY296" fmla="*/ 1885815 h 2083059"/>
                <a:gd name="connsiteX297" fmla="*/ 1149963 w 2066379"/>
                <a:gd name="connsiteY297" fmla="*/ 1883009 h 2083059"/>
                <a:gd name="connsiteX298" fmla="*/ 1210310 w 2066379"/>
                <a:gd name="connsiteY298" fmla="*/ 1886964 h 2083059"/>
                <a:gd name="connsiteX299" fmla="*/ 1212606 w 2066379"/>
                <a:gd name="connsiteY299" fmla="*/ 1886453 h 2083059"/>
                <a:gd name="connsiteX300" fmla="*/ 1216561 w 2066379"/>
                <a:gd name="connsiteY300" fmla="*/ 1885943 h 2083059"/>
                <a:gd name="connsiteX301" fmla="*/ 1272443 w 2066379"/>
                <a:gd name="connsiteY301" fmla="*/ 1864254 h 2083059"/>
                <a:gd name="connsiteX302" fmla="*/ 1295025 w 2066379"/>
                <a:gd name="connsiteY302" fmla="*/ 1867061 h 2083059"/>
                <a:gd name="connsiteX303" fmla="*/ 1323221 w 2066379"/>
                <a:gd name="connsiteY303" fmla="*/ 1865912 h 2083059"/>
                <a:gd name="connsiteX304" fmla="*/ 1345804 w 2066379"/>
                <a:gd name="connsiteY304" fmla="*/ 1868719 h 2083059"/>
                <a:gd name="connsiteX305" fmla="*/ 1364941 w 2066379"/>
                <a:gd name="connsiteY305" fmla="*/ 1868719 h 2083059"/>
                <a:gd name="connsiteX306" fmla="*/ 1358179 w 2066379"/>
                <a:gd name="connsiteY306" fmla="*/ 1820875 h 2083059"/>
                <a:gd name="connsiteX307" fmla="*/ 1356521 w 2066379"/>
                <a:gd name="connsiteY307" fmla="*/ 1808627 h 2083059"/>
                <a:gd name="connsiteX308" fmla="*/ 1357669 w 2066379"/>
                <a:gd name="connsiteY308" fmla="*/ 1808117 h 2083059"/>
                <a:gd name="connsiteX309" fmla="*/ 1398879 w 2066379"/>
                <a:gd name="connsiteY309" fmla="*/ 1788597 h 2083059"/>
                <a:gd name="connsiteX310" fmla="*/ 1400027 w 2066379"/>
                <a:gd name="connsiteY310" fmla="*/ 1822023 h 2083059"/>
                <a:gd name="connsiteX311" fmla="*/ 1444043 w 2066379"/>
                <a:gd name="connsiteY311" fmla="*/ 1816410 h 2083059"/>
                <a:gd name="connsiteX312" fmla="*/ 1453102 w 2066379"/>
                <a:gd name="connsiteY312" fmla="*/ 1815900 h 2083059"/>
                <a:gd name="connsiteX313" fmla="*/ 1477343 w 2066379"/>
                <a:gd name="connsiteY313" fmla="*/ 1816410 h 2083059"/>
                <a:gd name="connsiteX314" fmla="*/ 1509494 w 2066379"/>
                <a:gd name="connsiteY314" fmla="*/ 1852006 h 2083059"/>
                <a:gd name="connsiteX315" fmla="*/ 1539348 w 2066379"/>
                <a:gd name="connsiteY315" fmla="*/ 1847540 h 2083059"/>
                <a:gd name="connsiteX316" fmla="*/ 1570351 w 2066379"/>
                <a:gd name="connsiteY316" fmla="*/ 1823554 h 2083059"/>
                <a:gd name="connsiteX317" fmla="*/ 1598547 w 2066379"/>
                <a:gd name="connsiteY317" fmla="*/ 1819599 h 2083059"/>
                <a:gd name="connsiteX318" fmla="*/ 1616536 w 2066379"/>
                <a:gd name="connsiteY318" fmla="*/ 1826872 h 2083059"/>
                <a:gd name="connsiteX319" fmla="*/ 1624447 w 2066379"/>
                <a:gd name="connsiteY319" fmla="*/ 1828530 h 2083059"/>
                <a:gd name="connsiteX320" fmla="*/ 1622150 w 2066379"/>
                <a:gd name="connsiteY320" fmla="*/ 1831337 h 2083059"/>
                <a:gd name="connsiteX321" fmla="*/ 1618705 w 2066379"/>
                <a:gd name="connsiteY321" fmla="*/ 1833506 h 2083059"/>
                <a:gd name="connsiteX322" fmla="*/ 1620364 w 2066379"/>
                <a:gd name="connsiteY322" fmla="*/ 1837461 h 2083059"/>
                <a:gd name="connsiteX323" fmla="*/ 1642308 w 2066379"/>
                <a:gd name="connsiteY323" fmla="*/ 1859150 h 2083059"/>
                <a:gd name="connsiteX324" fmla="*/ 1630443 w 2066379"/>
                <a:gd name="connsiteY324" fmla="*/ 1881350 h 2083059"/>
                <a:gd name="connsiteX325" fmla="*/ 1646774 w 2066379"/>
                <a:gd name="connsiteY325" fmla="*/ 1901891 h 2083059"/>
                <a:gd name="connsiteX326" fmla="*/ 1664253 w 2066379"/>
                <a:gd name="connsiteY326" fmla="*/ 1913629 h 2083059"/>
                <a:gd name="connsiteX327" fmla="*/ 1678414 w 2066379"/>
                <a:gd name="connsiteY327" fmla="*/ 1923708 h 2083059"/>
                <a:gd name="connsiteX328" fmla="*/ 1714521 w 2066379"/>
                <a:gd name="connsiteY328" fmla="*/ 1944249 h 2083059"/>
                <a:gd name="connsiteX329" fmla="*/ 1730851 w 2066379"/>
                <a:gd name="connsiteY329" fmla="*/ 1950373 h 2083059"/>
                <a:gd name="connsiteX330" fmla="*/ 1749989 w 2066379"/>
                <a:gd name="connsiteY330" fmla="*/ 1932001 h 2083059"/>
                <a:gd name="connsiteX331" fmla="*/ 1747693 w 2066379"/>
                <a:gd name="connsiteY331" fmla="*/ 1914777 h 2083059"/>
                <a:gd name="connsiteX332" fmla="*/ 1751137 w 2066379"/>
                <a:gd name="connsiteY332" fmla="*/ 1890281 h 2083059"/>
                <a:gd name="connsiteX333" fmla="*/ 1757389 w 2066379"/>
                <a:gd name="connsiteY333" fmla="*/ 1870250 h 2083059"/>
                <a:gd name="connsiteX334" fmla="*/ 1770402 w 2066379"/>
                <a:gd name="connsiteY334" fmla="*/ 1846264 h 2083059"/>
                <a:gd name="connsiteX335" fmla="*/ 1730341 w 2066379"/>
                <a:gd name="connsiteY335" fmla="*/ 1785662 h 2083059"/>
                <a:gd name="connsiteX336" fmla="*/ 1689769 w 2066379"/>
                <a:gd name="connsiteY336" fmla="*/ 1793445 h 2083059"/>
                <a:gd name="connsiteX337" fmla="*/ 1691428 w 2066379"/>
                <a:gd name="connsiteY337" fmla="*/ 1774562 h 2083059"/>
                <a:gd name="connsiteX338" fmla="*/ 1698700 w 2066379"/>
                <a:gd name="connsiteY338" fmla="*/ 1757849 h 2083059"/>
                <a:gd name="connsiteX339" fmla="*/ 1711714 w 2066379"/>
                <a:gd name="connsiteY339" fmla="*/ 1727867 h 2083059"/>
                <a:gd name="connsiteX340" fmla="*/ 1723579 w 2066379"/>
                <a:gd name="connsiteY340" fmla="*/ 1709495 h 2083059"/>
                <a:gd name="connsiteX341" fmla="*/ 1723579 w 2066379"/>
                <a:gd name="connsiteY341" fmla="*/ 1704519 h 2083059"/>
                <a:gd name="connsiteX342" fmla="*/ 1690918 w 2066379"/>
                <a:gd name="connsiteY342" fmla="*/ 1644937 h 2083059"/>
                <a:gd name="connsiteX343" fmla="*/ 1677904 w 2066379"/>
                <a:gd name="connsiteY343" fmla="*/ 1634348 h 2083059"/>
                <a:gd name="connsiteX344" fmla="*/ 1659915 w 2066379"/>
                <a:gd name="connsiteY344" fmla="*/ 1614317 h 2083059"/>
                <a:gd name="connsiteX345" fmla="*/ 1653663 w 2066379"/>
                <a:gd name="connsiteY345" fmla="*/ 1599262 h 2083059"/>
                <a:gd name="connsiteX346" fmla="*/ 1611305 w 2066379"/>
                <a:gd name="connsiteY346" fmla="*/ 1537512 h 2083059"/>
                <a:gd name="connsiteX347" fmla="*/ 1624829 w 2066379"/>
                <a:gd name="connsiteY347" fmla="*/ 1532536 h 2083059"/>
                <a:gd name="connsiteX348" fmla="*/ 1644605 w 2066379"/>
                <a:gd name="connsiteY348" fmla="*/ 1511995 h 2083059"/>
                <a:gd name="connsiteX349" fmla="*/ 1697042 w 2066379"/>
                <a:gd name="connsiteY349" fmla="*/ 1475251 h 2083059"/>
                <a:gd name="connsiteX350" fmla="*/ 1740420 w 2066379"/>
                <a:gd name="connsiteY350" fmla="*/ 1438507 h 2083059"/>
                <a:gd name="connsiteX351" fmla="*/ 1775888 w 2066379"/>
                <a:gd name="connsiteY351" fmla="*/ 1427407 h 2083059"/>
                <a:gd name="connsiteX352" fmla="*/ 1828836 w 2066379"/>
                <a:gd name="connsiteY352" fmla="*/ 1418476 h 2083059"/>
                <a:gd name="connsiteX353" fmla="*/ 1894797 w 2066379"/>
                <a:gd name="connsiteY353" fmla="*/ 1364508 h 2083059"/>
                <a:gd name="connsiteX354" fmla="*/ 1900410 w 2066379"/>
                <a:gd name="connsiteY354" fmla="*/ 1336695 h 2083059"/>
                <a:gd name="connsiteX355" fmla="*/ 1898114 w 2066379"/>
                <a:gd name="connsiteY355" fmla="*/ 1308882 h 2083059"/>
                <a:gd name="connsiteX356" fmla="*/ 1908320 w 2066379"/>
                <a:gd name="connsiteY356" fmla="*/ 1278262 h 2083059"/>
                <a:gd name="connsiteX357" fmla="*/ 1906024 w 2066379"/>
                <a:gd name="connsiteY357" fmla="*/ 1270989 h 2083059"/>
                <a:gd name="connsiteX358" fmla="*/ 1903217 w 2066379"/>
                <a:gd name="connsiteY358" fmla="*/ 1256572 h 2083059"/>
                <a:gd name="connsiteX359" fmla="*/ 1899772 w 2066379"/>
                <a:gd name="connsiteY359" fmla="*/ 1245473 h 2083059"/>
                <a:gd name="connsiteX360" fmla="*/ 1912148 w 2066379"/>
                <a:gd name="connsiteY360" fmla="*/ 1248790 h 2083059"/>
                <a:gd name="connsiteX361" fmla="*/ 1925162 w 2066379"/>
                <a:gd name="connsiteY361" fmla="*/ 1238838 h 2083059"/>
                <a:gd name="connsiteX362" fmla="*/ 1924651 w 2066379"/>
                <a:gd name="connsiteY362" fmla="*/ 1229907 h 2083059"/>
                <a:gd name="connsiteX363" fmla="*/ 1953358 w 2066379"/>
                <a:gd name="connsiteY363" fmla="*/ 1243304 h 2083059"/>
                <a:gd name="connsiteX364" fmla="*/ 1958971 w 2066379"/>
                <a:gd name="connsiteY364" fmla="*/ 1243304 h 2083059"/>
                <a:gd name="connsiteX365" fmla="*/ 1983723 w 2066379"/>
                <a:gd name="connsiteY365" fmla="*/ 1248917 h 2083059"/>
                <a:gd name="connsiteX366" fmla="*/ 1993291 w 2066379"/>
                <a:gd name="connsiteY366" fmla="*/ 1256700 h 2083059"/>
                <a:gd name="connsiteX367" fmla="*/ 2023784 w 2066379"/>
                <a:gd name="connsiteY367" fmla="*/ 1271117 h 2083059"/>
                <a:gd name="connsiteX368" fmla="*/ 2032842 w 2066379"/>
                <a:gd name="connsiteY368" fmla="*/ 1260527 h 2083059"/>
                <a:gd name="connsiteX369" fmla="*/ 2043559 w 2066379"/>
                <a:gd name="connsiteY369" fmla="*/ 1243814 h 2083059"/>
                <a:gd name="connsiteX370" fmla="*/ 2057721 w 2066379"/>
                <a:gd name="connsiteY370" fmla="*/ 1229397 h 2083059"/>
                <a:gd name="connsiteX371" fmla="*/ 2061166 w 2066379"/>
                <a:gd name="connsiteY371" fmla="*/ 1184360 h 2083059"/>
                <a:gd name="connsiteX372" fmla="*/ 2061166 w 2066379"/>
                <a:gd name="connsiteY372" fmla="*/ 1184360 h 208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</a:cxnLst>
              <a:rect l="l" t="t" r="r" b="b"/>
              <a:pathLst>
                <a:path w="2066379" h="2083059">
                  <a:moveTo>
                    <a:pt x="2060783" y="1184488"/>
                  </a:moveTo>
                  <a:cubicBezTo>
                    <a:pt x="2060783" y="1184488"/>
                    <a:pt x="2059635" y="1150040"/>
                    <a:pt x="2059635" y="1148892"/>
                  </a:cubicBezTo>
                  <a:cubicBezTo>
                    <a:pt x="2045473" y="1139450"/>
                    <a:pt x="2060145" y="1130520"/>
                    <a:pt x="2060145" y="1129371"/>
                  </a:cubicBezTo>
                  <a:cubicBezTo>
                    <a:pt x="2060145" y="1129371"/>
                    <a:pt x="2060145" y="1129882"/>
                    <a:pt x="2060145" y="1129371"/>
                  </a:cubicBezTo>
                  <a:lnTo>
                    <a:pt x="2044963" y="1114954"/>
                  </a:lnTo>
                  <a:cubicBezTo>
                    <a:pt x="2033480" y="1073362"/>
                    <a:pt x="2025953" y="1037894"/>
                    <a:pt x="1974409" y="1031004"/>
                  </a:cubicBezTo>
                  <a:cubicBezTo>
                    <a:pt x="1950678" y="1005360"/>
                    <a:pt x="1939578" y="956623"/>
                    <a:pt x="1897093" y="998726"/>
                  </a:cubicBezTo>
                  <a:lnTo>
                    <a:pt x="1863283" y="974230"/>
                  </a:lnTo>
                  <a:cubicBezTo>
                    <a:pt x="1868259" y="946927"/>
                    <a:pt x="1837001" y="912607"/>
                    <a:pt x="1822074" y="903038"/>
                  </a:cubicBezTo>
                  <a:cubicBezTo>
                    <a:pt x="1799747" y="898062"/>
                    <a:pt x="1758920" y="902783"/>
                    <a:pt x="1755475" y="864125"/>
                  </a:cubicBezTo>
                  <a:cubicBezTo>
                    <a:pt x="1741058" y="856725"/>
                    <a:pt x="1721921" y="818833"/>
                    <a:pt x="1701890" y="809009"/>
                  </a:cubicBezTo>
                  <a:cubicBezTo>
                    <a:pt x="1691683" y="800078"/>
                    <a:pt x="1699083" y="798929"/>
                    <a:pt x="1699083" y="791785"/>
                  </a:cubicBezTo>
                  <a:cubicBezTo>
                    <a:pt x="1699083" y="784640"/>
                    <a:pt x="1643201" y="761165"/>
                    <a:pt x="1643201" y="761165"/>
                  </a:cubicBezTo>
                  <a:lnTo>
                    <a:pt x="1626871" y="766778"/>
                  </a:lnTo>
                  <a:lnTo>
                    <a:pt x="1590254" y="758485"/>
                  </a:lnTo>
                  <a:cubicBezTo>
                    <a:pt x="1590127" y="745217"/>
                    <a:pt x="1540369" y="705283"/>
                    <a:pt x="1533862" y="698904"/>
                  </a:cubicBezTo>
                  <a:cubicBezTo>
                    <a:pt x="1520849" y="628478"/>
                    <a:pt x="1530928" y="651698"/>
                    <a:pt x="1504518" y="639322"/>
                  </a:cubicBezTo>
                  <a:lnTo>
                    <a:pt x="1473515" y="552565"/>
                  </a:lnTo>
                  <a:cubicBezTo>
                    <a:pt x="1454122" y="550779"/>
                    <a:pt x="1425033" y="520797"/>
                    <a:pt x="1418782" y="500256"/>
                  </a:cubicBezTo>
                  <a:lnTo>
                    <a:pt x="1443533" y="481373"/>
                  </a:lnTo>
                  <a:lnTo>
                    <a:pt x="1442384" y="465808"/>
                  </a:lnTo>
                  <a:lnTo>
                    <a:pt x="1442384" y="462491"/>
                  </a:lnTo>
                  <a:lnTo>
                    <a:pt x="1466115" y="452412"/>
                  </a:lnTo>
                  <a:cubicBezTo>
                    <a:pt x="1457184" y="433657"/>
                    <a:pt x="1467901" y="413244"/>
                    <a:pt x="1477980" y="398444"/>
                  </a:cubicBezTo>
                  <a:lnTo>
                    <a:pt x="1447488" y="384027"/>
                  </a:lnTo>
                  <a:cubicBezTo>
                    <a:pt x="1447105" y="382496"/>
                    <a:pt x="1444681" y="382496"/>
                    <a:pt x="1445191" y="382368"/>
                  </a:cubicBezTo>
                  <a:lnTo>
                    <a:pt x="1455398" y="366803"/>
                  </a:lnTo>
                  <a:cubicBezTo>
                    <a:pt x="1359710" y="306967"/>
                    <a:pt x="1398368" y="319342"/>
                    <a:pt x="1361241" y="317301"/>
                  </a:cubicBezTo>
                  <a:lnTo>
                    <a:pt x="1349376" y="293953"/>
                  </a:lnTo>
                  <a:lnTo>
                    <a:pt x="1326794" y="279536"/>
                  </a:lnTo>
                  <a:cubicBezTo>
                    <a:pt x="1337894" y="246619"/>
                    <a:pt x="1314163" y="212299"/>
                    <a:pt x="1290177" y="197244"/>
                  </a:cubicBezTo>
                  <a:lnTo>
                    <a:pt x="1294642" y="182828"/>
                  </a:lnTo>
                  <a:lnTo>
                    <a:pt x="1290177" y="160628"/>
                  </a:lnTo>
                  <a:lnTo>
                    <a:pt x="1241057" y="133963"/>
                  </a:lnTo>
                  <a:cubicBezTo>
                    <a:pt x="1248712" y="107043"/>
                    <a:pt x="1235699" y="94157"/>
                    <a:pt x="1212351" y="86119"/>
                  </a:cubicBezTo>
                  <a:cubicBezTo>
                    <a:pt x="1207886" y="93136"/>
                    <a:pt x="1185686" y="110232"/>
                    <a:pt x="1175097" y="108319"/>
                  </a:cubicBezTo>
                  <a:cubicBezTo>
                    <a:pt x="1171524" y="75402"/>
                    <a:pt x="1103650" y="122991"/>
                    <a:pt x="1079791" y="105001"/>
                  </a:cubicBezTo>
                  <a:cubicBezTo>
                    <a:pt x="1079281" y="107170"/>
                    <a:pt x="1048533" y="124394"/>
                    <a:pt x="1045344" y="111636"/>
                  </a:cubicBezTo>
                  <a:lnTo>
                    <a:pt x="1029013" y="110488"/>
                  </a:lnTo>
                  <a:lnTo>
                    <a:pt x="1029013" y="90457"/>
                  </a:lnTo>
                  <a:lnTo>
                    <a:pt x="1013193" y="91605"/>
                  </a:lnTo>
                  <a:lnTo>
                    <a:pt x="1007579" y="51034"/>
                  </a:lnTo>
                  <a:lnTo>
                    <a:pt x="1013193" y="37127"/>
                  </a:lnTo>
                  <a:lnTo>
                    <a:pt x="979893" y="32661"/>
                  </a:lnTo>
                  <a:cubicBezTo>
                    <a:pt x="939194" y="68512"/>
                    <a:pt x="953484" y="56902"/>
                    <a:pt x="931412" y="60985"/>
                  </a:cubicBezTo>
                  <a:lnTo>
                    <a:pt x="946594" y="117760"/>
                  </a:lnTo>
                  <a:cubicBezTo>
                    <a:pt x="949528" y="126946"/>
                    <a:pt x="943022" y="177341"/>
                    <a:pt x="938173" y="186783"/>
                  </a:cubicBezTo>
                  <a:lnTo>
                    <a:pt x="891350" y="178490"/>
                  </a:lnTo>
                  <a:lnTo>
                    <a:pt x="894795" y="143404"/>
                  </a:lnTo>
                  <a:lnTo>
                    <a:pt x="878464" y="127839"/>
                  </a:lnTo>
                  <a:lnTo>
                    <a:pt x="855882" y="141235"/>
                  </a:lnTo>
                  <a:cubicBezTo>
                    <a:pt x="843889" y="117377"/>
                    <a:pt x="847079" y="137663"/>
                    <a:pt x="826027" y="128987"/>
                  </a:cubicBezTo>
                  <a:cubicBezTo>
                    <a:pt x="813014" y="104491"/>
                    <a:pt x="731360" y="118398"/>
                    <a:pt x="717709" y="136770"/>
                  </a:cubicBezTo>
                  <a:cubicBezTo>
                    <a:pt x="717709" y="143404"/>
                    <a:pt x="728936" y="144552"/>
                    <a:pt x="727915" y="149528"/>
                  </a:cubicBezTo>
                  <a:cubicBezTo>
                    <a:pt x="726767" y="153994"/>
                    <a:pt x="715540" y="160628"/>
                    <a:pt x="715540" y="160628"/>
                  </a:cubicBezTo>
                  <a:lnTo>
                    <a:pt x="727915" y="168411"/>
                  </a:lnTo>
                  <a:cubicBezTo>
                    <a:pt x="729191" y="182190"/>
                    <a:pt x="747053" y="177469"/>
                    <a:pt x="756622" y="183465"/>
                  </a:cubicBezTo>
                  <a:cubicBezTo>
                    <a:pt x="775632" y="191503"/>
                    <a:pt x="784180" y="210258"/>
                    <a:pt x="757770" y="201327"/>
                  </a:cubicBezTo>
                  <a:cubicBezTo>
                    <a:pt x="748839" y="204772"/>
                    <a:pt x="728171" y="207196"/>
                    <a:pt x="721154" y="203496"/>
                  </a:cubicBezTo>
                  <a:lnTo>
                    <a:pt x="716688" y="234116"/>
                  </a:lnTo>
                  <a:lnTo>
                    <a:pt x="698061" y="212427"/>
                  </a:lnTo>
                  <a:cubicBezTo>
                    <a:pt x="692575" y="216892"/>
                    <a:pt x="655831" y="229778"/>
                    <a:pt x="669354" y="202475"/>
                  </a:cubicBezTo>
                  <a:cubicBezTo>
                    <a:pt x="658893" y="191758"/>
                    <a:pt x="659020" y="156163"/>
                    <a:pt x="667058" y="145701"/>
                  </a:cubicBezTo>
                  <a:cubicBezTo>
                    <a:pt x="656341" y="141618"/>
                    <a:pt x="647793" y="136515"/>
                    <a:pt x="646772" y="123501"/>
                  </a:cubicBezTo>
                  <a:lnTo>
                    <a:pt x="633759" y="134601"/>
                  </a:lnTo>
                  <a:lnTo>
                    <a:pt x="610666" y="117887"/>
                  </a:lnTo>
                  <a:lnTo>
                    <a:pt x="607221" y="101812"/>
                  </a:lnTo>
                  <a:lnTo>
                    <a:pt x="601607" y="107426"/>
                  </a:lnTo>
                  <a:lnTo>
                    <a:pt x="579663" y="101812"/>
                  </a:lnTo>
                  <a:lnTo>
                    <a:pt x="589232" y="86247"/>
                  </a:lnTo>
                  <a:lnTo>
                    <a:pt x="574049" y="82929"/>
                  </a:lnTo>
                  <a:cubicBezTo>
                    <a:pt x="572518" y="82547"/>
                    <a:pt x="559505" y="54606"/>
                    <a:pt x="560526" y="51161"/>
                  </a:cubicBezTo>
                  <a:cubicBezTo>
                    <a:pt x="560526" y="51161"/>
                    <a:pt x="548660" y="44527"/>
                    <a:pt x="544195" y="44527"/>
                  </a:cubicBezTo>
                  <a:cubicBezTo>
                    <a:pt x="517657" y="44909"/>
                    <a:pt x="523526" y="-5359"/>
                    <a:pt x="481041" y="12758"/>
                  </a:cubicBezTo>
                  <a:lnTo>
                    <a:pt x="470834" y="0"/>
                  </a:lnTo>
                  <a:lnTo>
                    <a:pt x="446593" y="20541"/>
                  </a:lnTo>
                  <a:lnTo>
                    <a:pt x="436387" y="61113"/>
                  </a:lnTo>
                  <a:lnTo>
                    <a:pt x="387905" y="101684"/>
                  </a:lnTo>
                  <a:cubicBezTo>
                    <a:pt x="346057" y="110998"/>
                    <a:pt x="327813" y="56647"/>
                    <a:pt x="324751" y="122225"/>
                  </a:cubicBezTo>
                  <a:cubicBezTo>
                    <a:pt x="318116" y="137535"/>
                    <a:pt x="312758" y="158587"/>
                    <a:pt x="313523" y="171728"/>
                  </a:cubicBezTo>
                  <a:cubicBezTo>
                    <a:pt x="307017" y="173514"/>
                    <a:pt x="260704" y="192396"/>
                    <a:pt x="284817" y="210130"/>
                  </a:cubicBezTo>
                  <a:cubicBezTo>
                    <a:pt x="281372" y="210386"/>
                    <a:pt x="260193" y="214723"/>
                    <a:pt x="259428" y="220720"/>
                  </a:cubicBezTo>
                  <a:cubicBezTo>
                    <a:pt x="247690" y="208089"/>
                    <a:pt x="238249" y="211406"/>
                    <a:pt x="236335" y="210130"/>
                  </a:cubicBezTo>
                  <a:lnTo>
                    <a:pt x="225108" y="200179"/>
                  </a:lnTo>
                  <a:lnTo>
                    <a:pt x="213242" y="211279"/>
                  </a:lnTo>
                  <a:cubicBezTo>
                    <a:pt x="213242" y="211279"/>
                    <a:pt x="221153" y="224037"/>
                    <a:pt x="220004" y="228502"/>
                  </a:cubicBezTo>
                  <a:cubicBezTo>
                    <a:pt x="218856" y="232968"/>
                    <a:pt x="217708" y="242919"/>
                    <a:pt x="217708" y="242919"/>
                  </a:cubicBezTo>
                  <a:lnTo>
                    <a:pt x="231870" y="252361"/>
                  </a:lnTo>
                  <a:lnTo>
                    <a:pt x="230721" y="291912"/>
                  </a:lnTo>
                  <a:lnTo>
                    <a:pt x="182240" y="300842"/>
                  </a:lnTo>
                  <a:cubicBezTo>
                    <a:pt x="182240" y="300842"/>
                    <a:pt x="176626" y="278005"/>
                    <a:pt x="171012" y="273540"/>
                  </a:cubicBezTo>
                  <a:cubicBezTo>
                    <a:pt x="165399" y="269074"/>
                    <a:pt x="153533" y="260143"/>
                    <a:pt x="153533" y="260143"/>
                  </a:cubicBezTo>
                  <a:lnTo>
                    <a:pt x="141158" y="273540"/>
                  </a:lnTo>
                  <a:lnTo>
                    <a:pt x="100586" y="256826"/>
                  </a:lnTo>
                  <a:lnTo>
                    <a:pt x="74687" y="296377"/>
                  </a:lnTo>
                  <a:lnTo>
                    <a:pt x="58356" y="263588"/>
                  </a:lnTo>
                  <a:lnTo>
                    <a:pt x="48149" y="275836"/>
                  </a:lnTo>
                  <a:lnTo>
                    <a:pt x="23908" y="279153"/>
                  </a:lnTo>
                  <a:cubicBezTo>
                    <a:pt x="11533" y="295739"/>
                    <a:pt x="-21129" y="318959"/>
                    <a:pt x="20463" y="329166"/>
                  </a:cubicBezTo>
                  <a:cubicBezTo>
                    <a:pt x="20463" y="329166"/>
                    <a:pt x="13701" y="398189"/>
                    <a:pt x="18167" y="405971"/>
                  </a:cubicBezTo>
                  <a:cubicBezTo>
                    <a:pt x="22632" y="413754"/>
                    <a:pt x="27225" y="458281"/>
                    <a:pt x="27225" y="458281"/>
                  </a:cubicBezTo>
                  <a:lnTo>
                    <a:pt x="48149" y="448840"/>
                  </a:lnTo>
                  <a:lnTo>
                    <a:pt x="39729" y="481629"/>
                  </a:lnTo>
                  <a:cubicBezTo>
                    <a:pt x="60142" y="475632"/>
                    <a:pt x="62056" y="485839"/>
                    <a:pt x="51594" y="501149"/>
                  </a:cubicBezTo>
                  <a:cubicBezTo>
                    <a:pt x="69583" y="508549"/>
                    <a:pt x="68818" y="543124"/>
                    <a:pt x="45980" y="540700"/>
                  </a:cubicBezTo>
                  <a:lnTo>
                    <a:pt x="42025" y="576806"/>
                  </a:lnTo>
                  <a:lnTo>
                    <a:pt x="30798" y="594030"/>
                  </a:lnTo>
                  <a:lnTo>
                    <a:pt x="44959" y="625160"/>
                  </a:lnTo>
                  <a:lnTo>
                    <a:pt x="72007" y="620695"/>
                  </a:lnTo>
                  <a:lnTo>
                    <a:pt x="86169" y="628988"/>
                  </a:lnTo>
                  <a:lnTo>
                    <a:pt x="101989" y="628988"/>
                  </a:lnTo>
                  <a:lnTo>
                    <a:pt x="105945" y="613933"/>
                  </a:lnTo>
                  <a:lnTo>
                    <a:pt x="119468" y="606150"/>
                  </a:lnTo>
                  <a:lnTo>
                    <a:pt x="120617" y="579996"/>
                  </a:lnTo>
                  <a:lnTo>
                    <a:pt x="153916" y="574382"/>
                  </a:lnTo>
                  <a:lnTo>
                    <a:pt x="159530" y="586630"/>
                  </a:lnTo>
                  <a:lnTo>
                    <a:pt x="178157" y="577699"/>
                  </a:lnTo>
                  <a:cubicBezTo>
                    <a:pt x="176371" y="576168"/>
                    <a:pt x="183771" y="546058"/>
                    <a:pt x="184919" y="544910"/>
                  </a:cubicBezTo>
                  <a:lnTo>
                    <a:pt x="172543" y="526028"/>
                  </a:lnTo>
                  <a:cubicBezTo>
                    <a:pt x="168205" y="539041"/>
                    <a:pt x="159785" y="548993"/>
                    <a:pt x="143837" y="543890"/>
                  </a:cubicBezTo>
                  <a:lnTo>
                    <a:pt x="155064" y="533810"/>
                  </a:lnTo>
                  <a:lnTo>
                    <a:pt x="137075" y="527176"/>
                  </a:lnTo>
                  <a:lnTo>
                    <a:pt x="138223" y="506635"/>
                  </a:lnTo>
                  <a:cubicBezTo>
                    <a:pt x="140137" y="509314"/>
                    <a:pt x="177391" y="497449"/>
                    <a:pt x="180581" y="494387"/>
                  </a:cubicBezTo>
                  <a:lnTo>
                    <a:pt x="198060" y="504466"/>
                  </a:lnTo>
                  <a:lnTo>
                    <a:pt x="209287" y="493366"/>
                  </a:lnTo>
                  <a:cubicBezTo>
                    <a:pt x="211712" y="500383"/>
                    <a:pt x="233273" y="510080"/>
                    <a:pt x="237994" y="513397"/>
                  </a:cubicBezTo>
                  <a:lnTo>
                    <a:pt x="243607" y="528452"/>
                  </a:lnTo>
                  <a:lnTo>
                    <a:pt x="244756" y="498980"/>
                  </a:lnTo>
                  <a:lnTo>
                    <a:pt x="273462" y="489539"/>
                  </a:lnTo>
                  <a:cubicBezTo>
                    <a:pt x="273462" y="489539"/>
                    <a:pt x="264404" y="515694"/>
                    <a:pt x="264404" y="522328"/>
                  </a:cubicBezTo>
                  <a:cubicBezTo>
                    <a:pt x="264404" y="529600"/>
                    <a:pt x="271166" y="555117"/>
                    <a:pt x="271166" y="555117"/>
                  </a:cubicBezTo>
                  <a:lnTo>
                    <a:pt x="287496" y="555117"/>
                  </a:lnTo>
                  <a:lnTo>
                    <a:pt x="288645" y="535086"/>
                  </a:lnTo>
                  <a:lnTo>
                    <a:pt x="298851" y="531769"/>
                  </a:lnTo>
                  <a:lnTo>
                    <a:pt x="316330" y="558434"/>
                  </a:lnTo>
                  <a:lnTo>
                    <a:pt x="329854" y="535086"/>
                  </a:lnTo>
                  <a:lnTo>
                    <a:pt x="337764" y="545038"/>
                  </a:lnTo>
                  <a:lnTo>
                    <a:pt x="352947" y="550651"/>
                  </a:lnTo>
                  <a:lnTo>
                    <a:pt x="351798" y="577954"/>
                  </a:lnTo>
                  <a:cubicBezTo>
                    <a:pt x="352819" y="578720"/>
                    <a:pt x="369788" y="600026"/>
                    <a:pt x="368767" y="604109"/>
                  </a:cubicBezTo>
                  <a:cubicBezTo>
                    <a:pt x="361367" y="603471"/>
                    <a:pt x="341209" y="634091"/>
                    <a:pt x="340061" y="636898"/>
                  </a:cubicBezTo>
                  <a:lnTo>
                    <a:pt x="355243" y="643532"/>
                  </a:lnTo>
                  <a:cubicBezTo>
                    <a:pt x="354478" y="640726"/>
                    <a:pt x="373743" y="619547"/>
                    <a:pt x="376167" y="619547"/>
                  </a:cubicBezTo>
                  <a:cubicBezTo>
                    <a:pt x="381653" y="621205"/>
                    <a:pt x="386374" y="683339"/>
                    <a:pt x="385225" y="686273"/>
                  </a:cubicBezTo>
                  <a:lnTo>
                    <a:pt x="429752" y="686273"/>
                  </a:lnTo>
                  <a:cubicBezTo>
                    <a:pt x="422990" y="676194"/>
                    <a:pt x="443021" y="651060"/>
                    <a:pt x="447231" y="646722"/>
                  </a:cubicBezTo>
                  <a:cubicBezTo>
                    <a:pt x="448890" y="658332"/>
                    <a:pt x="447869" y="673515"/>
                    <a:pt x="465858" y="669559"/>
                  </a:cubicBezTo>
                  <a:lnTo>
                    <a:pt x="469303" y="697883"/>
                  </a:lnTo>
                  <a:lnTo>
                    <a:pt x="456290" y="717914"/>
                  </a:lnTo>
                  <a:cubicBezTo>
                    <a:pt x="456290" y="717914"/>
                    <a:pt x="470451" y="715745"/>
                    <a:pt x="472620" y="719062"/>
                  </a:cubicBezTo>
                  <a:cubicBezTo>
                    <a:pt x="474917" y="722379"/>
                    <a:pt x="491758" y="738582"/>
                    <a:pt x="488441" y="744068"/>
                  </a:cubicBezTo>
                  <a:cubicBezTo>
                    <a:pt x="484996" y="749682"/>
                    <a:pt x="467007" y="749682"/>
                    <a:pt x="467007" y="749682"/>
                  </a:cubicBezTo>
                  <a:lnTo>
                    <a:pt x="470451" y="760782"/>
                  </a:lnTo>
                  <a:cubicBezTo>
                    <a:pt x="458714" y="776092"/>
                    <a:pt x="461138" y="780813"/>
                    <a:pt x="478362" y="790254"/>
                  </a:cubicBezTo>
                  <a:cubicBezTo>
                    <a:pt x="479510" y="796888"/>
                    <a:pt x="473513" y="816026"/>
                    <a:pt x="479510" y="820874"/>
                  </a:cubicBezTo>
                  <a:lnTo>
                    <a:pt x="467134" y="827508"/>
                  </a:lnTo>
                  <a:lnTo>
                    <a:pt x="479510" y="874204"/>
                  </a:lnTo>
                  <a:lnTo>
                    <a:pt x="525695" y="902527"/>
                  </a:lnTo>
                  <a:lnTo>
                    <a:pt x="527992" y="912479"/>
                  </a:lnTo>
                  <a:lnTo>
                    <a:pt x="508216" y="926896"/>
                  </a:lnTo>
                  <a:lnTo>
                    <a:pt x="534116" y="974230"/>
                  </a:lnTo>
                  <a:lnTo>
                    <a:pt x="566777" y="979205"/>
                  </a:lnTo>
                  <a:cubicBezTo>
                    <a:pt x="570860" y="988519"/>
                    <a:pt x="635545" y="1041211"/>
                    <a:pt x="600076" y="1053714"/>
                  </a:cubicBezTo>
                  <a:cubicBezTo>
                    <a:pt x="615897" y="1074128"/>
                    <a:pt x="619087" y="1081655"/>
                    <a:pt x="597780" y="1099900"/>
                  </a:cubicBezTo>
                  <a:lnTo>
                    <a:pt x="609007" y="1106534"/>
                  </a:lnTo>
                  <a:cubicBezTo>
                    <a:pt x="606328" y="1145319"/>
                    <a:pt x="607859" y="1132689"/>
                    <a:pt x="594335" y="1138302"/>
                  </a:cubicBezTo>
                  <a:lnTo>
                    <a:pt x="596632" y="1159991"/>
                  </a:lnTo>
                  <a:lnTo>
                    <a:pt x="612452" y="1158843"/>
                  </a:lnTo>
                  <a:lnTo>
                    <a:pt x="624317" y="1192780"/>
                  </a:lnTo>
                  <a:lnTo>
                    <a:pt x="593315" y="1214470"/>
                  </a:lnTo>
                  <a:cubicBezTo>
                    <a:pt x="597652" y="1179129"/>
                    <a:pt x="598673" y="1190739"/>
                    <a:pt x="586553" y="1184998"/>
                  </a:cubicBezTo>
                  <a:lnTo>
                    <a:pt x="582598" y="1198394"/>
                  </a:lnTo>
                  <a:lnTo>
                    <a:pt x="570222" y="1204008"/>
                  </a:lnTo>
                  <a:cubicBezTo>
                    <a:pt x="570222" y="1204008"/>
                    <a:pt x="543684" y="1183977"/>
                    <a:pt x="539219" y="1183977"/>
                  </a:cubicBezTo>
                  <a:cubicBezTo>
                    <a:pt x="517147" y="1186401"/>
                    <a:pt x="525823" y="1207325"/>
                    <a:pt x="526843" y="1217914"/>
                  </a:cubicBezTo>
                  <a:lnTo>
                    <a:pt x="555550" y="1235776"/>
                  </a:lnTo>
                  <a:lnTo>
                    <a:pt x="547129" y="1248535"/>
                  </a:lnTo>
                  <a:lnTo>
                    <a:pt x="544833" y="1288086"/>
                  </a:lnTo>
                  <a:cubicBezTo>
                    <a:pt x="540112" y="1292041"/>
                    <a:pt x="514850" y="1298420"/>
                    <a:pt x="509364" y="1300334"/>
                  </a:cubicBezTo>
                  <a:lnTo>
                    <a:pt x="512809" y="1312582"/>
                  </a:lnTo>
                  <a:lnTo>
                    <a:pt x="490865" y="1322023"/>
                  </a:lnTo>
                  <a:lnTo>
                    <a:pt x="485251" y="1334271"/>
                  </a:lnTo>
                  <a:lnTo>
                    <a:pt x="476193" y="1339885"/>
                  </a:lnTo>
                  <a:lnTo>
                    <a:pt x="456417" y="1330954"/>
                  </a:lnTo>
                  <a:lnTo>
                    <a:pt x="425414" y="1333123"/>
                  </a:lnTo>
                  <a:lnTo>
                    <a:pt x="431028" y="1353664"/>
                  </a:lnTo>
                  <a:lnTo>
                    <a:pt x="411890" y="1378160"/>
                  </a:lnTo>
                  <a:lnTo>
                    <a:pt x="411890" y="1402145"/>
                  </a:lnTo>
                  <a:cubicBezTo>
                    <a:pt x="438173" y="1410694"/>
                    <a:pt x="438428" y="1461217"/>
                    <a:pt x="447359" y="1491709"/>
                  </a:cubicBezTo>
                  <a:cubicBezTo>
                    <a:pt x="451824" y="1509571"/>
                    <a:pt x="477213" y="1560732"/>
                    <a:pt x="477213" y="1560732"/>
                  </a:cubicBezTo>
                  <a:lnTo>
                    <a:pt x="464838" y="1577445"/>
                  </a:lnTo>
                  <a:lnTo>
                    <a:pt x="479510" y="1583059"/>
                  </a:lnTo>
                  <a:lnTo>
                    <a:pt x="460883" y="1608066"/>
                  </a:lnTo>
                  <a:lnTo>
                    <a:pt x="463689" y="1634220"/>
                  </a:lnTo>
                  <a:lnTo>
                    <a:pt x="447359" y="1656420"/>
                  </a:lnTo>
                  <a:lnTo>
                    <a:pt x="458586" y="1668158"/>
                  </a:lnTo>
                  <a:cubicBezTo>
                    <a:pt x="464583" y="1680661"/>
                    <a:pt x="460117" y="1703371"/>
                    <a:pt x="447359" y="1713195"/>
                  </a:cubicBezTo>
                  <a:lnTo>
                    <a:pt x="463689" y="1740497"/>
                  </a:lnTo>
                  <a:lnTo>
                    <a:pt x="438300" y="1758359"/>
                  </a:lnTo>
                  <a:cubicBezTo>
                    <a:pt x="451441" y="1767928"/>
                    <a:pt x="470707" y="1796762"/>
                    <a:pt x="469303" y="1817303"/>
                  </a:cubicBezTo>
                  <a:cubicBezTo>
                    <a:pt x="467007" y="1825086"/>
                    <a:pt x="439449" y="1851240"/>
                    <a:pt x="439449" y="1851240"/>
                  </a:cubicBezTo>
                  <a:lnTo>
                    <a:pt x="423118" y="1831210"/>
                  </a:lnTo>
                  <a:lnTo>
                    <a:pt x="401173" y="1826234"/>
                  </a:lnTo>
                  <a:lnTo>
                    <a:pt x="392115" y="1843457"/>
                  </a:lnTo>
                  <a:lnTo>
                    <a:pt x="334575" y="1834527"/>
                  </a:lnTo>
                  <a:cubicBezTo>
                    <a:pt x="331640" y="1863233"/>
                    <a:pt x="273462" y="1877778"/>
                    <a:pt x="251645" y="1874078"/>
                  </a:cubicBezTo>
                  <a:lnTo>
                    <a:pt x="236973" y="1891939"/>
                  </a:lnTo>
                  <a:lnTo>
                    <a:pt x="236973" y="1891939"/>
                  </a:lnTo>
                  <a:cubicBezTo>
                    <a:pt x="236973" y="1891939"/>
                    <a:pt x="237483" y="1892450"/>
                    <a:pt x="238121" y="1892450"/>
                  </a:cubicBezTo>
                  <a:cubicBezTo>
                    <a:pt x="238121" y="1892960"/>
                    <a:pt x="238632" y="1892960"/>
                    <a:pt x="238632" y="1892960"/>
                  </a:cubicBezTo>
                  <a:cubicBezTo>
                    <a:pt x="244245" y="1896277"/>
                    <a:pt x="261724" y="1907377"/>
                    <a:pt x="274738" y="1915160"/>
                  </a:cubicBezTo>
                  <a:cubicBezTo>
                    <a:pt x="284179" y="1914522"/>
                    <a:pt x="283541" y="1901508"/>
                    <a:pt x="287113" y="1895639"/>
                  </a:cubicBezTo>
                  <a:cubicBezTo>
                    <a:pt x="299234" y="1868847"/>
                    <a:pt x="310079" y="1875481"/>
                    <a:pt x="318754" y="1878926"/>
                  </a:cubicBezTo>
                  <a:cubicBezTo>
                    <a:pt x="321051" y="1885050"/>
                    <a:pt x="320413" y="1897298"/>
                    <a:pt x="319903" y="1901763"/>
                  </a:cubicBezTo>
                  <a:cubicBezTo>
                    <a:pt x="319392" y="1902274"/>
                    <a:pt x="319392" y="1905080"/>
                    <a:pt x="318754" y="1905080"/>
                  </a:cubicBezTo>
                  <a:cubicBezTo>
                    <a:pt x="319903" y="1905080"/>
                    <a:pt x="320413" y="1905080"/>
                    <a:pt x="321051" y="1905591"/>
                  </a:cubicBezTo>
                  <a:cubicBezTo>
                    <a:pt x="328706" y="1906739"/>
                    <a:pt x="341975" y="1913629"/>
                    <a:pt x="342485" y="1913884"/>
                  </a:cubicBezTo>
                  <a:lnTo>
                    <a:pt x="342995" y="1913884"/>
                  </a:lnTo>
                  <a:cubicBezTo>
                    <a:pt x="342995" y="1892705"/>
                    <a:pt x="365578" y="1914394"/>
                    <a:pt x="365578" y="1914394"/>
                  </a:cubicBezTo>
                  <a:cubicBezTo>
                    <a:pt x="383567" y="1905463"/>
                    <a:pt x="383057" y="1917711"/>
                    <a:pt x="383057" y="1921666"/>
                  </a:cubicBezTo>
                  <a:cubicBezTo>
                    <a:pt x="383057" y="1921666"/>
                    <a:pt x="382887" y="1922049"/>
                    <a:pt x="382546" y="1922815"/>
                  </a:cubicBezTo>
                  <a:lnTo>
                    <a:pt x="382546" y="1922815"/>
                  </a:lnTo>
                  <a:lnTo>
                    <a:pt x="382546" y="1923325"/>
                  </a:lnTo>
                  <a:cubicBezTo>
                    <a:pt x="387139" y="1927153"/>
                    <a:pt x="394284" y="1929832"/>
                    <a:pt x="393263" y="1935573"/>
                  </a:cubicBezTo>
                  <a:cubicBezTo>
                    <a:pt x="390329" y="1939656"/>
                    <a:pt x="398749" y="1947949"/>
                    <a:pt x="398877" y="1947311"/>
                  </a:cubicBezTo>
                  <a:cubicBezTo>
                    <a:pt x="421204" y="1937997"/>
                    <a:pt x="421204" y="1946162"/>
                    <a:pt x="418652" y="1954583"/>
                  </a:cubicBezTo>
                  <a:lnTo>
                    <a:pt x="418652" y="1954583"/>
                  </a:lnTo>
                  <a:lnTo>
                    <a:pt x="418652" y="1955731"/>
                  </a:lnTo>
                  <a:cubicBezTo>
                    <a:pt x="422097" y="1956242"/>
                    <a:pt x="429880" y="1965172"/>
                    <a:pt x="429880" y="1965172"/>
                  </a:cubicBezTo>
                  <a:cubicBezTo>
                    <a:pt x="439831" y="1961472"/>
                    <a:pt x="438938" y="1970148"/>
                    <a:pt x="437152" y="1974103"/>
                  </a:cubicBezTo>
                  <a:lnTo>
                    <a:pt x="437152" y="1974103"/>
                  </a:lnTo>
                  <a:lnTo>
                    <a:pt x="437152" y="1974614"/>
                  </a:lnTo>
                  <a:cubicBezTo>
                    <a:pt x="450166" y="1981503"/>
                    <a:pt x="426180" y="1991965"/>
                    <a:pt x="425287" y="1991837"/>
                  </a:cubicBezTo>
                  <a:cubicBezTo>
                    <a:pt x="425287" y="1991837"/>
                    <a:pt x="425797" y="1991837"/>
                    <a:pt x="426435" y="1992348"/>
                  </a:cubicBezTo>
                  <a:cubicBezTo>
                    <a:pt x="425925" y="1992348"/>
                    <a:pt x="425287" y="1992858"/>
                    <a:pt x="425287" y="1992858"/>
                  </a:cubicBezTo>
                  <a:lnTo>
                    <a:pt x="439959" y="2028964"/>
                  </a:lnTo>
                  <a:cubicBezTo>
                    <a:pt x="454886" y="2007275"/>
                    <a:pt x="459096" y="2027688"/>
                    <a:pt x="470962" y="2017865"/>
                  </a:cubicBezTo>
                  <a:cubicBezTo>
                    <a:pt x="472620" y="2000003"/>
                    <a:pt x="491248" y="2012889"/>
                    <a:pt x="491248" y="2012889"/>
                  </a:cubicBezTo>
                  <a:cubicBezTo>
                    <a:pt x="500306" y="2004596"/>
                    <a:pt x="500306" y="2015696"/>
                    <a:pt x="500306" y="2019013"/>
                  </a:cubicBezTo>
                  <a:cubicBezTo>
                    <a:pt x="494692" y="2016206"/>
                    <a:pt x="483337" y="2047336"/>
                    <a:pt x="484486" y="2046316"/>
                  </a:cubicBezTo>
                  <a:lnTo>
                    <a:pt x="484486" y="2046316"/>
                  </a:lnTo>
                  <a:cubicBezTo>
                    <a:pt x="484486" y="2046316"/>
                    <a:pt x="483975" y="2047464"/>
                    <a:pt x="484486" y="2047464"/>
                  </a:cubicBezTo>
                  <a:cubicBezTo>
                    <a:pt x="504771" y="2062008"/>
                    <a:pt x="461903" y="2064815"/>
                    <a:pt x="474917" y="2080891"/>
                  </a:cubicBezTo>
                  <a:lnTo>
                    <a:pt x="474917" y="2080891"/>
                  </a:lnTo>
                  <a:cubicBezTo>
                    <a:pt x="477596" y="2079998"/>
                    <a:pt x="478106" y="2081656"/>
                    <a:pt x="479382" y="2083060"/>
                  </a:cubicBezTo>
                  <a:cubicBezTo>
                    <a:pt x="483210" y="2082932"/>
                    <a:pt x="514085" y="2079487"/>
                    <a:pt x="509875" y="2079105"/>
                  </a:cubicBezTo>
                  <a:cubicBezTo>
                    <a:pt x="512171" y="2077956"/>
                    <a:pt x="514340" y="2077446"/>
                    <a:pt x="514340" y="2077446"/>
                  </a:cubicBezTo>
                  <a:cubicBezTo>
                    <a:pt x="511533" y="2075788"/>
                    <a:pt x="518806" y="2074639"/>
                    <a:pt x="521612" y="2073491"/>
                  </a:cubicBezTo>
                  <a:cubicBezTo>
                    <a:pt x="528502" y="2066729"/>
                    <a:pt x="536029" y="2064560"/>
                    <a:pt x="541898" y="2061243"/>
                  </a:cubicBezTo>
                  <a:cubicBezTo>
                    <a:pt x="544195" y="2058436"/>
                    <a:pt x="549809" y="2052950"/>
                    <a:pt x="549809" y="2052950"/>
                  </a:cubicBezTo>
                  <a:cubicBezTo>
                    <a:pt x="548660" y="2046826"/>
                    <a:pt x="567287" y="2030751"/>
                    <a:pt x="567287" y="2030751"/>
                  </a:cubicBezTo>
                  <a:cubicBezTo>
                    <a:pt x="566139" y="2027433"/>
                    <a:pt x="570094" y="2021820"/>
                    <a:pt x="568946" y="2020671"/>
                  </a:cubicBezTo>
                  <a:cubicBezTo>
                    <a:pt x="568946" y="2017354"/>
                    <a:pt x="581322" y="2016206"/>
                    <a:pt x="581322" y="2015058"/>
                  </a:cubicBezTo>
                  <a:cubicBezTo>
                    <a:pt x="582470" y="2011740"/>
                    <a:pt x="584766" y="2011740"/>
                    <a:pt x="586425" y="2012251"/>
                  </a:cubicBezTo>
                  <a:cubicBezTo>
                    <a:pt x="587573" y="2011740"/>
                    <a:pt x="589870" y="2012761"/>
                    <a:pt x="590380" y="2012251"/>
                  </a:cubicBezTo>
                  <a:cubicBezTo>
                    <a:pt x="587573" y="2004468"/>
                    <a:pt x="593187" y="1991072"/>
                    <a:pt x="593187" y="1990051"/>
                  </a:cubicBezTo>
                  <a:cubicBezTo>
                    <a:pt x="599949" y="1992858"/>
                    <a:pt x="601607" y="1983417"/>
                    <a:pt x="601607" y="1982269"/>
                  </a:cubicBezTo>
                  <a:cubicBezTo>
                    <a:pt x="611814" y="1979462"/>
                    <a:pt x="603266" y="1973338"/>
                    <a:pt x="603266" y="1972190"/>
                  </a:cubicBezTo>
                  <a:cubicBezTo>
                    <a:pt x="605818" y="1960579"/>
                    <a:pt x="606328" y="1954583"/>
                    <a:pt x="601607" y="1947183"/>
                  </a:cubicBezTo>
                  <a:cubicBezTo>
                    <a:pt x="584766" y="1944249"/>
                    <a:pt x="589104" y="1933659"/>
                    <a:pt x="593187" y="1926642"/>
                  </a:cubicBezTo>
                  <a:cubicBezTo>
                    <a:pt x="592677" y="1914394"/>
                    <a:pt x="595994" y="1904953"/>
                    <a:pt x="596632" y="1899339"/>
                  </a:cubicBezTo>
                  <a:cubicBezTo>
                    <a:pt x="596632" y="1893725"/>
                    <a:pt x="592677" y="1899339"/>
                    <a:pt x="590380" y="1892705"/>
                  </a:cubicBezTo>
                  <a:cubicBezTo>
                    <a:pt x="588722" y="1884922"/>
                    <a:pt x="592039" y="1883264"/>
                    <a:pt x="602245" y="1883774"/>
                  </a:cubicBezTo>
                  <a:cubicBezTo>
                    <a:pt x="618576" y="1893470"/>
                    <a:pt x="576729" y="1898956"/>
                    <a:pt x="624190" y="1913756"/>
                  </a:cubicBezTo>
                  <a:cubicBezTo>
                    <a:pt x="626486" y="1912098"/>
                    <a:pt x="642817" y="1914266"/>
                    <a:pt x="648941" y="1915415"/>
                  </a:cubicBezTo>
                  <a:cubicBezTo>
                    <a:pt x="655703" y="1909291"/>
                    <a:pt x="662465" y="1896532"/>
                    <a:pt x="662465" y="1896532"/>
                  </a:cubicBezTo>
                  <a:lnTo>
                    <a:pt x="665272" y="1896022"/>
                  </a:lnTo>
                  <a:cubicBezTo>
                    <a:pt x="671523" y="1895512"/>
                    <a:pt x="679434" y="1899339"/>
                    <a:pt x="679434" y="1899339"/>
                  </a:cubicBezTo>
                  <a:cubicBezTo>
                    <a:pt x="686961" y="1904953"/>
                    <a:pt x="705333" y="1898574"/>
                    <a:pt x="706481" y="1909418"/>
                  </a:cubicBezTo>
                  <a:cubicBezTo>
                    <a:pt x="710947" y="1908270"/>
                    <a:pt x="715540" y="1912736"/>
                    <a:pt x="715540" y="1912736"/>
                  </a:cubicBezTo>
                  <a:lnTo>
                    <a:pt x="725746" y="1914394"/>
                  </a:lnTo>
                  <a:cubicBezTo>
                    <a:pt x="735698" y="1912736"/>
                    <a:pt x="735953" y="1924218"/>
                    <a:pt x="741567" y="1926132"/>
                  </a:cubicBezTo>
                  <a:lnTo>
                    <a:pt x="743863" y="1926642"/>
                  </a:lnTo>
                  <a:lnTo>
                    <a:pt x="746160" y="1926132"/>
                  </a:lnTo>
                  <a:cubicBezTo>
                    <a:pt x="752284" y="1922942"/>
                    <a:pt x="798087" y="1902784"/>
                    <a:pt x="796300" y="1926642"/>
                  </a:cubicBezTo>
                  <a:cubicBezTo>
                    <a:pt x="811993" y="1928046"/>
                    <a:pt x="783287" y="1945652"/>
                    <a:pt x="783287" y="1945524"/>
                  </a:cubicBezTo>
                  <a:cubicBezTo>
                    <a:pt x="781373" y="1957517"/>
                    <a:pt x="796428" y="1951011"/>
                    <a:pt x="799107" y="1949990"/>
                  </a:cubicBezTo>
                  <a:cubicBezTo>
                    <a:pt x="818245" y="1948331"/>
                    <a:pt x="809824" y="1959431"/>
                    <a:pt x="809824" y="1959431"/>
                  </a:cubicBezTo>
                  <a:cubicBezTo>
                    <a:pt x="837510" y="1982779"/>
                    <a:pt x="831769" y="1988903"/>
                    <a:pt x="831769" y="1990562"/>
                  </a:cubicBezTo>
                  <a:cubicBezTo>
                    <a:pt x="806124" y="2019396"/>
                    <a:pt x="887395" y="2003575"/>
                    <a:pt x="896581" y="2005616"/>
                  </a:cubicBezTo>
                  <a:cubicBezTo>
                    <a:pt x="892626" y="1993879"/>
                    <a:pt x="903471" y="1995537"/>
                    <a:pt x="936642" y="1984438"/>
                  </a:cubicBezTo>
                  <a:cubicBezTo>
                    <a:pt x="966497" y="1974996"/>
                    <a:pt x="940598" y="2006127"/>
                    <a:pt x="940598" y="2006127"/>
                  </a:cubicBezTo>
                  <a:lnTo>
                    <a:pt x="964328" y="2006637"/>
                  </a:lnTo>
                  <a:cubicBezTo>
                    <a:pt x="965476" y="2003320"/>
                    <a:pt x="971600" y="1997706"/>
                    <a:pt x="971600" y="1996558"/>
                  </a:cubicBezTo>
                  <a:cubicBezTo>
                    <a:pt x="970452" y="1982141"/>
                    <a:pt x="981807" y="1985458"/>
                    <a:pt x="981807" y="1983800"/>
                  </a:cubicBezTo>
                  <a:cubicBezTo>
                    <a:pt x="979511" y="1982141"/>
                    <a:pt x="986910" y="1979334"/>
                    <a:pt x="986910" y="1978186"/>
                  </a:cubicBezTo>
                  <a:cubicBezTo>
                    <a:pt x="988059" y="1968107"/>
                    <a:pt x="1006048" y="1975379"/>
                    <a:pt x="1006048" y="1975379"/>
                  </a:cubicBezTo>
                  <a:cubicBezTo>
                    <a:pt x="1004900" y="1975762"/>
                    <a:pt x="1015362" y="1972827"/>
                    <a:pt x="1023017" y="1975379"/>
                  </a:cubicBezTo>
                  <a:cubicBezTo>
                    <a:pt x="1034244" y="1977038"/>
                    <a:pt x="1024165" y="1970914"/>
                    <a:pt x="1024165" y="1970914"/>
                  </a:cubicBezTo>
                  <a:cubicBezTo>
                    <a:pt x="1023782" y="1955604"/>
                    <a:pt x="1020082" y="1964917"/>
                    <a:pt x="1013958" y="1960324"/>
                  </a:cubicBezTo>
                  <a:cubicBezTo>
                    <a:pt x="1006048" y="1955348"/>
                    <a:pt x="1025824" y="1939783"/>
                    <a:pt x="1026334" y="1938635"/>
                  </a:cubicBezTo>
                  <a:cubicBezTo>
                    <a:pt x="1033096" y="1923070"/>
                    <a:pt x="1042154" y="1934680"/>
                    <a:pt x="1042154" y="1935828"/>
                  </a:cubicBezTo>
                  <a:cubicBezTo>
                    <a:pt x="1041899" y="1933914"/>
                    <a:pt x="1102757" y="1938890"/>
                    <a:pt x="1101991" y="1921922"/>
                  </a:cubicBezTo>
                  <a:cubicBezTo>
                    <a:pt x="1101098" y="1913374"/>
                    <a:pt x="1101608" y="1897043"/>
                    <a:pt x="1105436" y="1895257"/>
                  </a:cubicBezTo>
                  <a:cubicBezTo>
                    <a:pt x="1108881" y="1884157"/>
                    <a:pt x="1121256" y="1887984"/>
                    <a:pt x="1120618" y="1886326"/>
                  </a:cubicBezTo>
                  <a:cubicBezTo>
                    <a:pt x="1118322" y="1877395"/>
                    <a:pt x="1130825" y="1883519"/>
                    <a:pt x="1133632" y="1885815"/>
                  </a:cubicBezTo>
                  <a:cubicBezTo>
                    <a:pt x="1136439" y="1886964"/>
                    <a:pt x="1148814" y="1883009"/>
                    <a:pt x="1149963" y="1883009"/>
                  </a:cubicBezTo>
                  <a:cubicBezTo>
                    <a:pt x="1178159" y="1874716"/>
                    <a:pt x="1210310" y="1886964"/>
                    <a:pt x="1210310" y="1886964"/>
                  </a:cubicBezTo>
                  <a:lnTo>
                    <a:pt x="1212606" y="1886453"/>
                  </a:lnTo>
                  <a:lnTo>
                    <a:pt x="1216561" y="1885943"/>
                  </a:lnTo>
                  <a:cubicBezTo>
                    <a:pt x="1213116" y="1865274"/>
                    <a:pt x="1272315" y="1864636"/>
                    <a:pt x="1272443" y="1864254"/>
                  </a:cubicBezTo>
                  <a:cubicBezTo>
                    <a:pt x="1291070" y="1850347"/>
                    <a:pt x="1295025" y="1867061"/>
                    <a:pt x="1295025" y="1867061"/>
                  </a:cubicBezTo>
                  <a:cubicBezTo>
                    <a:pt x="1304084" y="1860426"/>
                    <a:pt x="1322711" y="1867061"/>
                    <a:pt x="1323221" y="1865912"/>
                  </a:cubicBezTo>
                  <a:cubicBezTo>
                    <a:pt x="1332280" y="1864764"/>
                    <a:pt x="1344655" y="1868719"/>
                    <a:pt x="1345804" y="1868719"/>
                  </a:cubicBezTo>
                  <a:cubicBezTo>
                    <a:pt x="1363793" y="1858130"/>
                    <a:pt x="1363283" y="1866550"/>
                    <a:pt x="1364941" y="1868719"/>
                  </a:cubicBezTo>
                  <a:cubicBezTo>
                    <a:pt x="1391861" y="1870888"/>
                    <a:pt x="1357541" y="1818196"/>
                    <a:pt x="1358179" y="1820875"/>
                  </a:cubicBezTo>
                  <a:cubicBezTo>
                    <a:pt x="1358179" y="1820875"/>
                    <a:pt x="1357031" y="1811944"/>
                    <a:pt x="1356521" y="1808627"/>
                  </a:cubicBezTo>
                  <a:lnTo>
                    <a:pt x="1357669" y="1808117"/>
                  </a:lnTo>
                  <a:cubicBezTo>
                    <a:pt x="1374127" y="1817430"/>
                    <a:pt x="1391861" y="1769204"/>
                    <a:pt x="1398879" y="1788597"/>
                  </a:cubicBezTo>
                  <a:cubicBezTo>
                    <a:pt x="1377444" y="1819217"/>
                    <a:pt x="1400027" y="1822023"/>
                    <a:pt x="1400027" y="1822023"/>
                  </a:cubicBezTo>
                  <a:cubicBezTo>
                    <a:pt x="1426564" y="1803651"/>
                    <a:pt x="1444043" y="1816410"/>
                    <a:pt x="1444043" y="1816410"/>
                  </a:cubicBezTo>
                  <a:cubicBezTo>
                    <a:pt x="1444043" y="1816410"/>
                    <a:pt x="1453102" y="1814751"/>
                    <a:pt x="1453102" y="1815900"/>
                  </a:cubicBezTo>
                  <a:cubicBezTo>
                    <a:pt x="1476194" y="1806969"/>
                    <a:pt x="1472239" y="1807606"/>
                    <a:pt x="1477343" y="1816410"/>
                  </a:cubicBezTo>
                  <a:cubicBezTo>
                    <a:pt x="1479639" y="1826361"/>
                    <a:pt x="1508345" y="1852006"/>
                    <a:pt x="1509494" y="1852006"/>
                  </a:cubicBezTo>
                  <a:cubicBezTo>
                    <a:pt x="1514469" y="1844351"/>
                    <a:pt x="1532331" y="1847795"/>
                    <a:pt x="1539348" y="1847540"/>
                  </a:cubicBezTo>
                  <a:cubicBezTo>
                    <a:pt x="1541007" y="1826489"/>
                    <a:pt x="1558231" y="1815517"/>
                    <a:pt x="1570351" y="1823554"/>
                  </a:cubicBezTo>
                  <a:cubicBezTo>
                    <a:pt x="1578772" y="1811307"/>
                    <a:pt x="1598547" y="1819599"/>
                    <a:pt x="1598547" y="1819599"/>
                  </a:cubicBezTo>
                  <a:cubicBezTo>
                    <a:pt x="1611688" y="1816920"/>
                    <a:pt x="1616154" y="1821003"/>
                    <a:pt x="1616536" y="1826872"/>
                  </a:cubicBezTo>
                  <a:cubicBezTo>
                    <a:pt x="1623298" y="1825723"/>
                    <a:pt x="1624447" y="1826872"/>
                    <a:pt x="1624447" y="1828530"/>
                  </a:cubicBezTo>
                  <a:lnTo>
                    <a:pt x="1622150" y="1831337"/>
                  </a:lnTo>
                  <a:cubicBezTo>
                    <a:pt x="1620492" y="1832485"/>
                    <a:pt x="1618705" y="1833506"/>
                    <a:pt x="1618705" y="1833506"/>
                  </a:cubicBezTo>
                  <a:cubicBezTo>
                    <a:pt x="1619216" y="1833123"/>
                    <a:pt x="1620364" y="1838864"/>
                    <a:pt x="1620364" y="1837461"/>
                  </a:cubicBezTo>
                  <a:cubicBezTo>
                    <a:pt x="1622660" y="1848561"/>
                    <a:pt x="1653025" y="1850857"/>
                    <a:pt x="1642308" y="1859150"/>
                  </a:cubicBezTo>
                  <a:cubicBezTo>
                    <a:pt x="1629933" y="1866933"/>
                    <a:pt x="1633250" y="1870250"/>
                    <a:pt x="1630443" y="1881350"/>
                  </a:cubicBezTo>
                  <a:cubicBezTo>
                    <a:pt x="1627636" y="1892450"/>
                    <a:pt x="1645626" y="1901891"/>
                    <a:pt x="1646774" y="1901891"/>
                  </a:cubicBezTo>
                  <a:cubicBezTo>
                    <a:pt x="1664763" y="1896915"/>
                    <a:pt x="1664253" y="1913629"/>
                    <a:pt x="1664253" y="1913629"/>
                  </a:cubicBezTo>
                  <a:cubicBezTo>
                    <a:pt x="1667060" y="1912480"/>
                    <a:pt x="1675480" y="1915798"/>
                    <a:pt x="1678414" y="1923708"/>
                  </a:cubicBezTo>
                  <a:cubicBezTo>
                    <a:pt x="1680711" y="1929832"/>
                    <a:pt x="1713372" y="1944249"/>
                    <a:pt x="1714521" y="1944249"/>
                  </a:cubicBezTo>
                  <a:cubicBezTo>
                    <a:pt x="1721028" y="1937614"/>
                    <a:pt x="1727662" y="1949480"/>
                    <a:pt x="1730851" y="1950373"/>
                  </a:cubicBezTo>
                  <a:cubicBezTo>
                    <a:pt x="1732510" y="1941442"/>
                    <a:pt x="1749989" y="1932001"/>
                    <a:pt x="1749989" y="1932001"/>
                  </a:cubicBezTo>
                  <a:cubicBezTo>
                    <a:pt x="1749989" y="1932001"/>
                    <a:pt x="1747693" y="1915925"/>
                    <a:pt x="1747693" y="1914777"/>
                  </a:cubicBezTo>
                  <a:cubicBezTo>
                    <a:pt x="1732510" y="1909801"/>
                    <a:pt x="1751137" y="1890281"/>
                    <a:pt x="1751137" y="1890281"/>
                  </a:cubicBezTo>
                  <a:cubicBezTo>
                    <a:pt x="1732000" y="1876374"/>
                    <a:pt x="1757389" y="1871398"/>
                    <a:pt x="1757389" y="1870250"/>
                  </a:cubicBezTo>
                  <a:cubicBezTo>
                    <a:pt x="1745013" y="1865785"/>
                    <a:pt x="1770402" y="1846264"/>
                    <a:pt x="1770402" y="1846264"/>
                  </a:cubicBezTo>
                  <a:cubicBezTo>
                    <a:pt x="1757772" y="1818706"/>
                    <a:pt x="1763641" y="1799314"/>
                    <a:pt x="1730341" y="1785662"/>
                  </a:cubicBezTo>
                  <a:cubicBezTo>
                    <a:pt x="1725876" y="1791021"/>
                    <a:pt x="1712224" y="1803013"/>
                    <a:pt x="1689769" y="1793445"/>
                  </a:cubicBezTo>
                  <a:cubicBezTo>
                    <a:pt x="1675097" y="1786172"/>
                    <a:pt x="1690280" y="1774562"/>
                    <a:pt x="1691428" y="1774562"/>
                  </a:cubicBezTo>
                  <a:cubicBezTo>
                    <a:pt x="1693725" y="1774562"/>
                    <a:pt x="1698700" y="1757849"/>
                    <a:pt x="1698700" y="1757849"/>
                  </a:cubicBezTo>
                  <a:cubicBezTo>
                    <a:pt x="1685942" y="1755552"/>
                    <a:pt x="1713117" y="1729653"/>
                    <a:pt x="1711714" y="1727867"/>
                  </a:cubicBezTo>
                  <a:cubicBezTo>
                    <a:pt x="1713500" y="1723529"/>
                    <a:pt x="1721793" y="1709877"/>
                    <a:pt x="1723579" y="1709495"/>
                  </a:cubicBezTo>
                  <a:lnTo>
                    <a:pt x="1723579" y="1704519"/>
                  </a:lnTo>
                  <a:cubicBezTo>
                    <a:pt x="1721283" y="1705667"/>
                    <a:pt x="1690918" y="1644937"/>
                    <a:pt x="1690918" y="1644937"/>
                  </a:cubicBezTo>
                  <a:cubicBezTo>
                    <a:pt x="1686452" y="1656037"/>
                    <a:pt x="1677904" y="1634348"/>
                    <a:pt x="1677904" y="1634348"/>
                  </a:cubicBezTo>
                  <a:cubicBezTo>
                    <a:pt x="1659277" y="1647744"/>
                    <a:pt x="1657618" y="1614317"/>
                    <a:pt x="1659915" y="1614317"/>
                  </a:cubicBezTo>
                  <a:cubicBezTo>
                    <a:pt x="1662211" y="1614317"/>
                    <a:pt x="1652643" y="1599262"/>
                    <a:pt x="1653663" y="1599262"/>
                  </a:cubicBezTo>
                  <a:cubicBezTo>
                    <a:pt x="1642819" y="1590714"/>
                    <a:pt x="1593827" y="1552439"/>
                    <a:pt x="1611305" y="1537512"/>
                  </a:cubicBezTo>
                  <a:cubicBezTo>
                    <a:pt x="1611050" y="1522584"/>
                    <a:pt x="1619981" y="1530750"/>
                    <a:pt x="1624829" y="1532536"/>
                  </a:cubicBezTo>
                  <a:cubicBezTo>
                    <a:pt x="1624829" y="1515440"/>
                    <a:pt x="1634015" y="1515185"/>
                    <a:pt x="1644605" y="1511995"/>
                  </a:cubicBezTo>
                  <a:cubicBezTo>
                    <a:pt x="1662339" y="1480099"/>
                    <a:pt x="1656725" y="1478823"/>
                    <a:pt x="1697042" y="1475251"/>
                  </a:cubicBezTo>
                  <a:cubicBezTo>
                    <a:pt x="1711204" y="1470658"/>
                    <a:pt x="1723834" y="1435317"/>
                    <a:pt x="1740420" y="1438507"/>
                  </a:cubicBezTo>
                  <a:cubicBezTo>
                    <a:pt x="1740037" y="1429193"/>
                    <a:pt x="1766830" y="1427279"/>
                    <a:pt x="1775888" y="1427407"/>
                  </a:cubicBezTo>
                  <a:cubicBezTo>
                    <a:pt x="1780992" y="1415287"/>
                    <a:pt x="1816970" y="1417200"/>
                    <a:pt x="1828836" y="1418476"/>
                  </a:cubicBezTo>
                  <a:cubicBezTo>
                    <a:pt x="1835215" y="1421155"/>
                    <a:pt x="1889566" y="1363615"/>
                    <a:pt x="1894797" y="1364508"/>
                  </a:cubicBezTo>
                  <a:cubicBezTo>
                    <a:pt x="1893521" y="1358767"/>
                    <a:pt x="1898752" y="1335164"/>
                    <a:pt x="1900410" y="1336695"/>
                  </a:cubicBezTo>
                  <a:cubicBezTo>
                    <a:pt x="1907172" y="1331081"/>
                    <a:pt x="1898114" y="1310030"/>
                    <a:pt x="1898114" y="1308882"/>
                  </a:cubicBezTo>
                  <a:cubicBezTo>
                    <a:pt x="1901559" y="1304927"/>
                    <a:pt x="1904876" y="1281068"/>
                    <a:pt x="1908320" y="1278262"/>
                  </a:cubicBezTo>
                  <a:cubicBezTo>
                    <a:pt x="1911765" y="1276093"/>
                    <a:pt x="1909469" y="1272648"/>
                    <a:pt x="1906024" y="1270989"/>
                  </a:cubicBezTo>
                  <a:cubicBezTo>
                    <a:pt x="1902834" y="1264610"/>
                    <a:pt x="1905003" y="1262058"/>
                    <a:pt x="1903217" y="1256572"/>
                  </a:cubicBezTo>
                  <a:cubicBezTo>
                    <a:pt x="1900538" y="1253638"/>
                    <a:pt x="1899262" y="1246493"/>
                    <a:pt x="1899772" y="1245473"/>
                  </a:cubicBezTo>
                  <a:cubicBezTo>
                    <a:pt x="1903727" y="1245983"/>
                    <a:pt x="1912148" y="1248790"/>
                    <a:pt x="1912148" y="1248790"/>
                  </a:cubicBezTo>
                  <a:cubicBezTo>
                    <a:pt x="1911638" y="1248662"/>
                    <a:pt x="1920696" y="1239349"/>
                    <a:pt x="1925162" y="1238838"/>
                  </a:cubicBezTo>
                  <a:cubicBezTo>
                    <a:pt x="1933072" y="1234883"/>
                    <a:pt x="1924651" y="1231056"/>
                    <a:pt x="1924651" y="1229907"/>
                  </a:cubicBezTo>
                  <a:cubicBezTo>
                    <a:pt x="1932561" y="1215490"/>
                    <a:pt x="1953358" y="1243304"/>
                    <a:pt x="1953358" y="1243304"/>
                  </a:cubicBezTo>
                  <a:lnTo>
                    <a:pt x="1958971" y="1243304"/>
                  </a:lnTo>
                  <a:cubicBezTo>
                    <a:pt x="1969178" y="1231566"/>
                    <a:pt x="1983723" y="1248917"/>
                    <a:pt x="1983723" y="1248917"/>
                  </a:cubicBezTo>
                  <a:cubicBezTo>
                    <a:pt x="1996098" y="1245600"/>
                    <a:pt x="1993291" y="1256700"/>
                    <a:pt x="1993291" y="1256700"/>
                  </a:cubicBezTo>
                  <a:cubicBezTo>
                    <a:pt x="1995843" y="1254531"/>
                    <a:pt x="2021870" y="1271627"/>
                    <a:pt x="2023784" y="1271117"/>
                  </a:cubicBezTo>
                  <a:cubicBezTo>
                    <a:pt x="2025442" y="1267162"/>
                    <a:pt x="2030546" y="1262186"/>
                    <a:pt x="2032842" y="1260527"/>
                  </a:cubicBezTo>
                  <a:cubicBezTo>
                    <a:pt x="2031184" y="1258869"/>
                    <a:pt x="2032459" y="1228376"/>
                    <a:pt x="2043559" y="1243814"/>
                  </a:cubicBezTo>
                  <a:cubicBezTo>
                    <a:pt x="2043559" y="1240497"/>
                    <a:pt x="2055425" y="1229397"/>
                    <a:pt x="2057721" y="1229397"/>
                  </a:cubicBezTo>
                  <a:cubicBezTo>
                    <a:pt x="2050321" y="1203625"/>
                    <a:pt x="2077241" y="1208346"/>
                    <a:pt x="2061166" y="1184360"/>
                  </a:cubicBezTo>
                  <a:lnTo>
                    <a:pt x="2061166" y="1184360"/>
                  </a:lnTo>
                  <a:close/>
                </a:path>
              </a:pathLst>
            </a:custGeom>
            <a:solidFill>
              <a:srgbClr val="EDE6E1"/>
            </a:solidFill>
            <a:ln w="12700" cap="rnd">
              <a:solidFill>
                <a:srgbClr val="D9CEC9"/>
              </a:solidFill>
              <a:prstDash val="solid"/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07921"/>
              <a:endParaRPr lang="de-DE" sz="1698">
                <a:solidFill>
                  <a:srgbClr val="3B3B3B"/>
                </a:solidFill>
              </a:endParaRPr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FD84C771-0FDA-7760-DD02-755558D7CE69}"/>
                </a:ext>
              </a:extLst>
            </p:cNvPr>
            <p:cNvSpPr/>
            <p:nvPr/>
          </p:nvSpPr>
          <p:spPr>
            <a:xfrm>
              <a:off x="4182283" y="3623057"/>
              <a:ext cx="1344940" cy="1446111"/>
            </a:xfrm>
            <a:custGeom>
              <a:avLst/>
              <a:gdLst>
                <a:gd name="connsiteX0" fmla="*/ 1296889 w 1296888"/>
                <a:gd name="connsiteY0" fmla="*/ 702859 h 1394444"/>
                <a:gd name="connsiteX1" fmla="*/ 1285024 w 1296888"/>
                <a:gd name="connsiteY1" fmla="*/ 668922 h 1394444"/>
                <a:gd name="connsiteX2" fmla="*/ 1269203 w 1296888"/>
                <a:gd name="connsiteY2" fmla="*/ 670070 h 1394444"/>
                <a:gd name="connsiteX3" fmla="*/ 1266907 w 1296888"/>
                <a:gd name="connsiteY3" fmla="*/ 648381 h 1394444"/>
                <a:gd name="connsiteX4" fmla="*/ 1279283 w 1296888"/>
                <a:gd name="connsiteY4" fmla="*/ 645063 h 1394444"/>
                <a:gd name="connsiteX5" fmla="*/ 1281579 w 1296888"/>
                <a:gd name="connsiteY5" fmla="*/ 616740 h 1394444"/>
                <a:gd name="connsiteX6" fmla="*/ 1270352 w 1296888"/>
                <a:gd name="connsiteY6" fmla="*/ 610106 h 1394444"/>
                <a:gd name="connsiteX7" fmla="*/ 1286682 w 1296888"/>
                <a:gd name="connsiteY7" fmla="*/ 590075 h 1394444"/>
                <a:gd name="connsiteX8" fmla="*/ 1272521 w 1296888"/>
                <a:gd name="connsiteY8" fmla="*/ 563920 h 1394444"/>
                <a:gd name="connsiteX9" fmla="*/ 1284896 w 1296888"/>
                <a:gd name="connsiteY9" fmla="*/ 550524 h 1394444"/>
                <a:gd name="connsiteX10" fmla="*/ 1239221 w 1296888"/>
                <a:gd name="connsiteY10" fmla="*/ 489411 h 1394444"/>
                <a:gd name="connsiteX11" fmla="*/ 1206432 w 1296888"/>
                <a:gd name="connsiteY11" fmla="*/ 484435 h 1394444"/>
                <a:gd name="connsiteX12" fmla="*/ 1180533 w 1296888"/>
                <a:gd name="connsiteY12" fmla="*/ 437230 h 1394444"/>
                <a:gd name="connsiteX13" fmla="*/ 1200308 w 1296888"/>
                <a:gd name="connsiteY13" fmla="*/ 422813 h 1394444"/>
                <a:gd name="connsiteX14" fmla="*/ 1198012 w 1296888"/>
                <a:gd name="connsiteY14" fmla="*/ 412861 h 1394444"/>
                <a:gd name="connsiteX15" fmla="*/ 1151699 w 1296888"/>
                <a:gd name="connsiteY15" fmla="*/ 384537 h 1394444"/>
                <a:gd name="connsiteX16" fmla="*/ 1139323 w 1296888"/>
                <a:gd name="connsiteY16" fmla="*/ 337842 h 1394444"/>
                <a:gd name="connsiteX17" fmla="*/ 1151699 w 1296888"/>
                <a:gd name="connsiteY17" fmla="*/ 331207 h 1394444"/>
                <a:gd name="connsiteX18" fmla="*/ 1148254 w 1296888"/>
                <a:gd name="connsiteY18" fmla="*/ 318959 h 1394444"/>
                <a:gd name="connsiteX19" fmla="*/ 1150550 w 1296888"/>
                <a:gd name="connsiteY19" fmla="*/ 300587 h 1394444"/>
                <a:gd name="connsiteX20" fmla="*/ 1135878 w 1296888"/>
                <a:gd name="connsiteY20" fmla="*/ 290636 h 1394444"/>
                <a:gd name="connsiteX21" fmla="*/ 1142640 w 1296888"/>
                <a:gd name="connsiteY21" fmla="*/ 271243 h 1394444"/>
                <a:gd name="connsiteX22" fmla="*/ 1139196 w 1296888"/>
                <a:gd name="connsiteY22" fmla="*/ 260143 h 1394444"/>
                <a:gd name="connsiteX23" fmla="*/ 1160630 w 1296888"/>
                <a:gd name="connsiteY23" fmla="*/ 254530 h 1394444"/>
                <a:gd name="connsiteX24" fmla="*/ 1144809 w 1296888"/>
                <a:gd name="connsiteY24" fmla="*/ 229523 h 1394444"/>
                <a:gd name="connsiteX25" fmla="*/ 1128479 w 1296888"/>
                <a:gd name="connsiteY25" fmla="*/ 228375 h 1394444"/>
                <a:gd name="connsiteX26" fmla="*/ 1141492 w 1296888"/>
                <a:gd name="connsiteY26" fmla="*/ 208344 h 1394444"/>
                <a:gd name="connsiteX27" fmla="*/ 1138047 w 1296888"/>
                <a:gd name="connsiteY27" fmla="*/ 180021 h 1394444"/>
                <a:gd name="connsiteX28" fmla="*/ 1126182 w 1296888"/>
                <a:gd name="connsiteY28" fmla="*/ 180021 h 1394444"/>
                <a:gd name="connsiteX29" fmla="*/ 1119420 w 1296888"/>
                <a:gd name="connsiteY29" fmla="*/ 157183 h 1394444"/>
                <a:gd name="connsiteX30" fmla="*/ 1103089 w 1296888"/>
                <a:gd name="connsiteY30" fmla="*/ 178872 h 1394444"/>
                <a:gd name="connsiteX31" fmla="*/ 1101941 w 1296888"/>
                <a:gd name="connsiteY31" fmla="*/ 196607 h 1394444"/>
                <a:gd name="connsiteX32" fmla="*/ 1057414 w 1296888"/>
                <a:gd name="connsiteY32" fmla="*/ 196607 h 1394444"/>
                <a:gd name="connsiteX33" fmla="*/ 1056266 w 1296888"/>
                <a:gd name="connsiteY33" fmla="*/ 163818 h 1394444"/>
                <a:gd name="connsiteX34" fmla="*/ 1048356 w 1296888"/>
                <a:gd name="connsiteY34" fmla="*/ 129880 h 1394444"/>
                <a:gd name="connsiteX35" fmla="*/ 1036491 w 1296888"/>
                <a:gd name="connsiteY35" fmla="*/ 140470 h 1394444"/>
                <a:gd name="connsiteX36" fmla="*/ 1027432 w 1296888"/>
                <a:gd name="connsiteY36" fmla="*/ 153866 h 1394444"/>
                <a:gd name="connsiteX37" fmla="*/ 1012250 w 1296888"/>
                <a:gd name="connsiteY37" fmla="*/ 147232 h 1394444"/>
                <a:gd name="connsiteX38" fmla="*/ 1028580 w 1296888"/>
                <a:gd name="connsiteY38" fmla="*/ 123374 h 1394444"/>
                <a:gd name="connsiteX39" fmla="*/ 1040956 w 1296888"/>
                <a:gd name="connsiteY39" fmla="*/ 114443 h 1394444"/>
                <a:gd name="connsiteX40" fmla="*/ 1036491 w 1296888"/>
                <a:gd name="connsiteY40" fmla="*/ 104491 h 1394444"/>
                <a:gd name="connsiteX41" fmla="*/ 1024115 w 1296888"/>
                <a:gd name="connsiteY41" fmla="*/ 88416 h 1394444"/>
                <a:gd name="connsiteX42" fmla="*/ 1025263 w 1296888"/>
                <a:gd name="connsiteY42" fmla="*/ 61113 h 1394444"/>
                <a:gd name="connsiteX43" fmla="*/ 1010081 w 1296888"/>
                <a:gd name="connsiteY43" fmla="*/ 55499 h 1394444"/>
                <a:gd name="connsiteX44" fmla="*/ 1002171 w 1296888"/>
                <a:gd name="connsiteY44" fmla="*/ 45547 h 1394444"/>
                <a:gd name="connsiteX45" fmla="*/ 988647 w 1296888"/>
                <a:gd name="connsiteY45" fmla="*/ 68895 h 1394444"/>
                <a:gd name="connsiteX46" fmla="*/ 971168 w 1296888"/>
                <a:gd name="connsiteY46" fmla="*/ 42230 h 1394444"/>
                <a:gd name="connsiteX47" fmla="*/ 960961 w 1296888"/>
                <a:gd name="connsiteY47" fmla="*/ 45547 h 1394444"/>
                <a:gd name="connsiteX48" fmla="*/ 959813 w 1296888"/>
                <a:gd name="connsiteY48" fmla="*/ 65578 h 1394444"/>
                <a:gd name="connsiteX49" fmla="*/ 943482 w 1296888"/>
                <a:gd name="connsiteY49" fmla="*/ 65578 h 1394444"/>
                <a:gd name="connsiteX50" fmla="*/ 936720 w 1296888"/>
                <a:gd name="connsiteY50" fmla="*/ 32789 h 1394444"/>
                <a:gd name="connsiteX51" fmla="*/ 945779 w 1296888"/>
                <a:gd name="connsiteY51" fmla="*/ 0 h 1394444"/>
                <a:gd name="connsiteX52" fmla="*/ 916945 w 1296888"/>
                <a:gd name="connsiteY52" fmla="*/ 9441 h 1394444"/>
                <a:gd name="connsiteX53" fmla="*/ 915796 w 1296888"/>
                <a:gd name="connsiteY53" fmla="*/ 38913 h 1394444"/>
                <a:gd name="connsiteX54" fmla="*/ 910183 w 1296888"/>
                <a:gd name="connsiteY54" fmla="*/ 23858 h 1394444"/>
                <a:gd name="connsiteX55" fmla="*/ 895000 w 1296888"/>
                <a:gd name="connsiteY55" fmla="*/ 16076 h 1394444"/>
                <a:gd name="connsiteX56" fmla="*/ 881476 w 1296888"/>
                <a:gd name="connsiteY56" fmla="*/ 3828 h 1394444"/>
                <a:gd name="connsiteX57" fmla="*/ 870249 w 1296888"/>
                <a:gd name="connsiteY57" fmla="*/ 14927 h 1394444"/>
                <a:gd name="connsiteX58" fmla="*/ 852770 w 1296888"/>
                <a:gd name="connsiteY58" fmla="*/ 4976 h 1394444"/>
                <a:gd name="connsiteX59" fmla="*/ 838098 w 1296888"/>
                <a:gd name="connsiteY59" fmla="*/ 11610 h 1394444"/>
                <a:gd name="connsiteX60" fmla="*/ 810412 w 1296888"/>
                <a:gd name="connsiteY60" fmla="*/ 17224 h 1394444"/>
                <a:gd name="connsiteX61" fmla="*/ 809264 w 1296888"/>
                <a:gd name="connsiteY61" fmla="*/ 37765 h 1394444"/>
                <a:gd name="connsiteX62" fmla="*/ 827381 w 1296888"/>
                <a:gd name="connsiteY62" fmla="*/ 44399 h 1394444"/>
                <a:gd name="connsiteX63" fmla="*/ 816153 w 1296888"/>
                <a:gd name="connsiteY63" fmla="*/ 54351 h 1394444"/>
                <a:gd name="connsiteX64" fmla="*/ 830826 w 1296888"/>
                <a:gd name="connsiteY64" fmla="*/ 55499 h 1394444"/>
                <a:gd name="connsiteX65" fmla="*/ 844987 w 1296888"/>
                <a:gd name="connsiteY65" fmla="*/ 36617 h 1394444"/>
                <a:gd name="connsiteX66" fmla="*/ 857363 w 1296888"/>
                <a:gd name="connsiteY66" fmla="*/ 55499 h 1394444"/>
                <a:gd name="connsiteX67" fmla="*/ 852897 w 1296888"/>
                <a:gd name="connsiteY67" fmla="*/ 70554 h 1394444"/>
                <a:gd name="connsiteX68" fmla="*/ 850601 w 1296888"/>
                <a:gd name="connsiteY68" fmla="*/ 88288 h 1394444"/>
                <a:gd name="connsiteX69" fmla="*/ 831974 w 1296888"/>
                <a:gd name="connsiteY69" fmla="*/ 97219 h 1394444"/>
                <a:gd name="connsiteX70" fmla="*/ 826360 w 1296888"/>
                <a:gd name="connsiteY70" fmla="*/ 84971 h 1394444"/>
                <a:gd name="connsiteX71" fmla="*/ 793061 w 1296888"/>
                <a:gd name="connsiteY71" fmla="*/ 90584 h 1394444"/>
                <a:gd name="connsiteX72" fmla="*/ 791912 w 1296888"/>
                <a:gd name="connsiteY72" fmla="*/ 116739 h 1394444"/>
                <a:gd name="connsiteX73" fmla="*/ 778389 w 1296888"/>
                <a:gd name="connsiteY73" fmla="*/ 124522 h 1394444"/>
                <a:gd name="connsiteX74" fmla="*/ 774433 w 1296888"/>
                <a:gd name="connsiteY74" fmla="*/ 139577 h 1394444"/>
                <a:gd name="connsiteX75" fmla="*/ 758613 w 1296888"/>
                <a:gd name="connsiteY75" fmla="*/ 139577 h 1394444"/>
                <a:gd name="connsiteX76" fmla="*/ 744451 w 1296888"/>
                <a:gd name="connsiteY76" fmla="*/ 131284 h 1394444"/>
                <a:gd name="connsiteX77" fmla="*/ 717404 w 1296888"/>
                <a:gd name="connsiteY77" fmla="*/ 135749 h 1394444"/>
                <a:gd name="connsiteX78" fmla="*/ 715107 w 1296888"/>
                <a:gd name="connsiteY78" fmla="*/ 131922 h 1394444"/>
                <a:gd name="connsiteX79" fmla="*/ 709493 w 1296888"/>
                <a:gd name="connsiteY79" fmla="*/ 141363 h 1394444"/>
                <a:gd name="connsiteX80" fmla="*/ 723017 w 1296888"/>
                <a:gd name="connsiteY80" fmla="*/ 176321 h 1394444"/>
                <a:gd name="connsiteX81" fmla="*/ 704900 w 1296888"/>
                <a:gd name="connsiteY81" fmla="*/ 170707 h 1394444"/>
                <a:gd name="connsiteX82" fmla="*/ 694183 w 1296888"/>
                <a:gd name="connsiteY82" fmla="*/ 183465 h 1394444"/>
                <a:gd name="connsiteX83" fmla="*/ 666498 w 1296888"/>
                <a:gd name="connsiteY83" fmla="*/ 171855 h 1394444"/>
                <a:gd name="connsiteX84" fmla="*/ 653484 w 1296888"/>
                <a:gd name="connsiteY84" fmla="*/ 174024 h 1394444"/>
                <a:gd name="connsiteX85" fmla="*/ 647232 w 1296888"/>
                <a:gd name="connsiteY85" fmla="*/ 190738 h 1394444"/>
                <a:gd name="connsiteX86" fmla="*/ 648891 w 1296888"/>
                <a:gd name="connsiteY86" fmla="*/ 205793 h 1394444"/>
                <a:gd name="connsiteX87" fmla="*/ 641619 w 1296888"/>
                <a:gd name="connsiteY87" fmla="*/ 216382 h 1394444"/>
                <a:gd name="connsiteX88" fmla="*/ 627457 w 1296888"/>
                <a:gd name="connsiteY88" fmla="*/ 215234 h 1394444"/>
                <a:gd name="connsiteX89" fmla="*/ 607171 w 1296888"/>
                <a:gd name="connsiteY89" fmla="*/ 248023 h 1394444"/>
                <a:gd name="connsiteX90" fmla="*/ 585737 w 1296888"/>
                <a:gd name="connsiteY90" fmla="*/ 230799 h 1394444"/>
                <a:gd name="connsiteX91" fmla="*/ 603216 w 1296888"/>
                <a:gd name="connsiteY91" fmla="*/ 219699 h 1394444"/>
                <a:gd name="connsiteX92" fmla="*/ 604364 w 1296888"/>
                <a:gd name="connsiteY92" fmla="*/ 213065 h 1394444"/>
                <a:gd name="connsiteX93" fmla="*/ 598751 w 1296888"/>
                <a:gd name="connsiteY93" fmla="*/ 197500 h 1394444"/>
                <a:gd name="connsiteX94" fmla="*/ 610616 w 1296888"/>
                <a:gd name="connsiteY94" fmla="*/ 189207 h 1394444"/>
                <a:gd name="connsiteX95" fmla="*/ 625798 w 1296888"/>
                <a:gd name="connsiteY95" fmla="*/ 198648 h 1394444"/>
                <a:gd name="connsiteX96" fmla="*/ 628605 w 1296888"/>
                <a:gd name="connsiteY96" fmla="*/ 175300 h 1394444"/>
                <a:gd name="connsiteX97" fmla="*/ 598751 w 1296888"/>
                <a:gd name="connsiteY97" fmla="*/ 169176 h 1394444"/>
                <a:gd name="connsiteX98" fmla="*/ 595944 w 1296888"/>
                <a:gd name="connsiteY98" fmla="*/ 154121 h 1394444"/>
                <a:gd name="connsiteX99" fmla="*/ 578465 w 1296888"/>
                <a:gd name="connsiteY99" fmla="*/ 169176 h 1394444"/>
                <a:gd name="connsiteX100" fmla="*/ 557031 w 1296888"/>
                <a:gd name="connsiteY100" fmla="*/ 158587 h 1394444"/>
                <a:gd name="connsiteX101" fmla="*/ 551927 w 1296888"/>
                <a:gd name="connsiteY101" fmla="*/ 145828 h 1394444"/>
                <a:gd name="connsiteX102" fmla="*/ 542869 w 1296888"/>
                <a:gd name="connsiteY102" fmla="*/ 125798 h 1394444"/>
                <a:gd name="connsiteX103" fmla="*/ 546314 w 1296888"/>
                <a:gd name="connsiteY103" fmla="*/ 109084 h 1394444"/>
                <a:gd name="connsiteX104" fmla="*/ 537893 w 1296888"/>
                <a:gd name="connsiteY104" fmla="*/ 97346 h 1394444"/>
                <a:gd name="connsiteX105" fmla="*/ 498342 w 1296888"/>
                <a:gd name="connsiteY105" fmla="*/ 110105 h 1394444"/>
                <a:gd name="connsiteX106" fmla="*/ 513014 w 1296888"/>
                <a:gd name="connsiteY106" fmla="*/ 140725 h 1394444"/>
                <a:gd name="connsiteX107" fmla="*/ 507911 w 1296888"/>
                <a:gd name="connsiteY107" fmla="*/ 161266 h 1394444"/>
                <a:gd name="connsiteX108" fmla="*/ 482011 w 1296888"/>
                <a:gd name="connsiteY108" fmla="*/ 157438 h 1394444"/>
                <a:gd name="connsiteX109" fmla="*/ 476908 w 1296888"/>
                <a:gd name="connsiteY109" fmla="*/ 143532 h 1394444"/>
                <a:gd name="connsiteX110" fmla="*/ 467339 w 1296888"/>
                <a:gd name="connsiteY110" fmla="*/ 138556 h 1394444"/>
                <a:gd name="connsiteX111" fmla="*/ 457771 w 1296888"/>
                <a:gd name="connsiteY111" fmla="*/ 114060 h 1394444"/>
                <a:gd name="connsiteX112" fmla="*/ 436336 w 1296888"/>
                <a:gd name="connsiteY112" fmla="*/ 119674 h 1394444"/>
                <a:gd name="connsiteX113" fmla="*/ 439143 w 1296888"/>
                <a:gd name="connsiteY113" fmla="*/ 134091 h 1394444"/>
                <a:gd name="connsiteX114" fmla="*/ 437995 w 1296888"/>
                <a:gd name="connsiteY114" fmla="*/ 150166 h 1394444"/>
                <a:gd name="connsiteX115" fmla="*/ 445905 w 1296888"/>
                <a:gd name="connsiteY115" fmla="*/ 183465 h 1394444"/>
                <a:gd name="connsiteX116" fmla="*/ 441440 w 1296888"/>
                <a:gd name="connsiteY116" fmla="*/ 203496 h 1394444"/>
                <a:gd name="connsiteX117" fmla="*/ 464022 w 1296888"/>
                <a:gd name="connsiteY117" fmla="*/ 210768 h 1394444"/>
                <a:gd name="connsiteX118" fmla="*/ 461726 w 1296888"/>
                <a:gd name="connsiteY118" fmla="*/ 236285 h 1394444"/>
                <a:gd name="connsiteX119" fmla="*/ 447054 w 1296888"/>
                <a:gd name="connsiteY119" fmla="*/ 242409 h 1394444"/>
                <a:gd name="connsiteX120" fmla="*/ 440292 w 1296888"/>
                <a:gd name="connsiteY120" fmla="*/ 256316 h 1394444"/>
                <a:gd name="connsiteX121" fmla="*/ 459429 w 1296888"/>
                <a:gd name="connsiteY121" fmla="*/ 254147 h 1394444"/>
                <a:gd name="connsiteX122" fmla="*/ 457771 w 1296888"/>
                <a:gd name="connsiteY122" fmla="*/ 269202 h 1394444"/>
                <a:gd name="connsiteX123" fmla="*/ 444757 w 1296888"/>
                <a:gd name="connsiteY123" fmla="*/ 281450 h 1394444"/>
                <a:gd name="connsiteX124" fmla="*/ 456622 w 1296888"/>
                <a:gd name="connsiteY124" fmla="*/ 302629 h 1394444"/>
                <a:gd name="connsiteX125" fmla="*/ 442460 w 1296888"/>
                <a:gd name="connsiteY125" fmla="*/ 318704 h 1394444"/>
                <a:gd name="connsiteX126" fmla="*/ 414775 w 1296888"/>
                <a:gd name="connsiteY126" fmla="*/ 343200 h 1394444"/>
                <a:gd name="connsiteX127" fmla="*/ 419240 w 1296888"/>
                <a:gd name="connsiteY127" fmla="*/ 350473 h 1394444"/>
                <a:gd name="connsiteX128" fmla="*/ 405078 w 1296888"/>
                <a:gd name="connsiteY128" fmla="*/ 382113 h 1394444"/>
                <a:gd name="connsiteX129" fmla="*/ 389258 w 1296888"/>
                <a:gd name="connsiteY129" fmla="*/ 430468 h 1394444"/>
                <a:gd name="connsiteX130" fmla="*/ 372927 w 1296888"/>
                <a:gd name="connsiteY130" fmla="*/ 446033 h 1394444"/>
                <a:gd name="connsiteX131" fmla="*/ 367824 w 1296888"/>
                <a:gd name="connsiteY131" fmla="*/ 476015 h 1394444"/>
                <a:gd name="connsiteX132" fmla="*/ 341925 w 1296888"/>
                <a:gd name="connsiteY132" fmla="*/ 506635 h 1394444"/>
                <a:gd name="connsiteX133" fmla="*/ 336821 w 1296888"/>
                <a:gd name="connsiteY133" fmla="*/ 506125 h 1394444"/>
                <a:gd name="connsiteX134" fmla="*/ 336821 w 1296888"/>
                <a:gd name="connsiteY134" fmla="*/ 506635 h 1394444"/>
                <a:gd name="connsiteX135" fmla="*/ 311942 w 1296888"/>
                <a:gd name="connsiteY135" fmla="*/ 523859 h 1394444"/>
                <a:gd name="connsiteX136" fmla="*/ 283746 w 1296888"/>
                <a:gd name="connsiteY136" fmla="*/ 577189 h 1394444"/>
                <a:gd name="connsiteX137" fmla="*/ 276346 w 1296888"/>
                <a:gd name="connsiteY137" fmla="*/ 607809 h 1394444"/>
                <a:gd name="connsiteX138" fmla="*/ 255423 w 1296888"/>
                <a:gd name="connsiteY138" fmla="*/ 610616 h 1394444"/>
                <a:gd name="connsiteX139" fmla="*/ 251468 w 1296888"/>
                <a:gd name="connsiteY139" fmla="*/ 617888 h 1394444"/>
                <a:gd name="connsiteX140" fmla="*/ 221613 w 1296888"/>
                <a:gd name="connsiteY140" fmla="*/ 632305 h 1394444"/>
                <a:gd name="connsiteX141" fmla="*/ 202475 w 1296888"/>
                <a:gd name="connsiteY141" fmla="*/ 672877 h 1394444"/>
                <a:gd name="connsiteX142" fmla="*/ 164073 w 1296888"/>
                <a:gd name="connsiteY142" fmla="*/ 691759 h 1394444"/>
                <a:gd name="connsiteX143" fmla="*/ 159607 w 1296888"/>
                <a:gd name="connsiteY143" fmla="*/ 715107 h 1394444"/>
                <a:gd name="connsiteX144" fmla="*/ 143277 w 1296888"/>
                <a:gd name="connsiteY144" fmla="*/ 729524 h 1394444"/>
                <a:gd name="connsiteX145" fmla="*/ 144935 w 1296888"/>
                <a:gd name="connsiteY145" fmla="*/ 781833 h 1394444"/>
                <a:gd name="connsiteX146" fmla="*/ 107681 w 1296888"/>
                <a:gd name="connsiteY146" fmla="*/ 870249 h 1394444"/>
                <a:gd name="connsiteX147" fmla="*/ 108829 w 1296888"/>
                <a:gd name="connsiteY147" fmla="*/ 873056 h 1394444"/>
                <a:gd name="connsiteX148" fmla="*/ 119546 w 1296888"/>
                <a:gd name="connsiteY148" fmla="*/ 894745 h 1394444"/>
                <a:gd name="connsiteX149" fmla="*/ 119036 w 1296888"/>
                <a:gd name="connsiteY149" fmla="*/ 895893 h 1394444"/>
                <a:gd name="connsiteX150" fmla="*/ 88543 w 1296888"/>
                <a:gd name="connsiteY150" fmla="*/ 919751 h 1394444"/>
                <a:gd name="connsiteX151" fmla="*/ 81271 w 1296888"/>
                <a:gd name="connsiteY151" fmla="*/ 949733 h 1394444"/>
                <a:gd name="connsiteX152" fmla="*/ 44654 w 1296888"/>
                <a:gd name="connsiteY152" fmla="*/ 1010846 h 1394444"/>
                <a:gd name="connsiteX153" fmla="*/ 38403 w 1296888"/>
                <a:gd name="connsiteY153" fmla="*/ 1082038 h 1394444"/>
                <a:gd name="connsiteX154" fmla="*/ 38403 w 1296888"/>
                <a:gd name="connsiteY154" fmla="*/ 1083186 h 1394444"/>
                <a:gd name="connsiteX155" fmla="*/ 50268 w 1296888"/>
                <a:gd name="connsiteY155" fmla="*/ 1122609 h 1394444"/>
                <a:gd name="connsiteX156" fmla="*/ 50268 w 1296888"/>
                <a:gd name="connsiteY156" fmla="*/ 1123120 h 1394444"/>
                <a:gd name="connsiteX157" fmla="*/ 26537 w 1296888"/>
                <a:gd name="connsiteY157" fmla="*/ 1170326 h 1394444"/>
                <a:gd name="connsiteX158" fmla="*/ 25389 w 1296888"/>
                <a:gd name="connsiteY158" fmla="*/ 1201966 h 1394444"/>
                <a:gd name="connsiteX159" fmla="*/ 7272 w 1296888"/>
                <a:gd name="connsiteY159" fmla="*/ 1235266 h 1394444"/>
                <a:gd name="connsiteX160" fmla="*/ 9569 w 1296888"/>
                <a:gd name="connsiteY160" fmla="*/ 1250321 h 1394444"/>
                <a:gd name="connsiteX161" fmla="*/ 14672 w 1296888"/>
                <a:gd name="connsiteY161" fmla="*/ 1268693 h 1394444"/>
                <a:gd name="connsiteX162" fmla="*/ 14672 w 1296888"/>
                <a:gd name="connsiteY162" fmla="*/ 1273158 h 1394444"/>
                <a:gd name="connsiteX163" fmla="*/ 0 w 1296888"/>
                <a:gd name="connsiteY163" fmla="*/ 1310413 h 1394444"/>
                <a:gd name="connsiteX164" fmla="*/ 1148 w 1296888"/>
                <a:gd name="connsiteY164" fmla="*/ 1318195 h 1394444"/>
                <a:gd name="connsiteX165" fmla="*/ 25389 w 1296888"/>
                <a:gd name="connsiteY165" fmla="*/ 1352643 h 1394444"/>
                <a:gd name="connsiteX166" fmla="*/ 28196 w 1296888"/>
                <a:gd name="connsiteY166" fmla="*/ 1358257 h 1394444"/>
                <a:gd name="connsiteX167" fmla="*/ 29855 w 1296888"/>
                <a:gd name="connsiteY167" fmla="*/ 1359405 h 1394444"/>
                <a:gd name="connsiteX168" fmla="*/ 34320 w 1296888"/>
                <a:gd name="connsiteY168" fmla="*/ 1354939 h 1394444"/>
                <a:gd name="connsiteX169" fmla="*/ 43889 w 1296888"/>
                <a:gd name="connsiteY169" fmla="*/ 1352771 h 1394444"/>
                <a:gd name="connsiteX170" fmla="*/ 50140 w 1296888"/>
                <a:gd name="connsiteY170" fmla="*/ 1354429 h 1394444"/>
                <a:gd name="connsiteX171" fmla="*/ 58051 w 1296888"/>
                <a:gd name="connsiteY171" fmla="*/ 1349964 h 1394444"/>
                <a:gd name="connsiteX172" fmla="*/ 59709 w 1296888"/>
                <a:gd name="connsiteY172" fmla="*/ 1352771 h 1394444"/>
                <a:gd name="connsiteX173" fmla="*/ 57413 w 1296888"/>
                <a:gd name="connsiteY173" fmla="*/ 1354939 h 1394444"/>
                <a:gd name="connsiteX174" fmla="*/ 51161 w 1296888"/>
                <a:gd name="connsiteY174" fmla="*/ 1358767 h 1394444"/>
                <a:gd name="connsiteX175" fmla="*/ 51161 w 1296888"/>
                <a:gd name="connsiteY175" fmla="*/ 1362084 h 1394444"/>
                <a:gd name="connsiteX176" fmla="*/ 51671 w 1296888"/>
                <a:gd name="connsiteY176" fmla="*/ 1365401 h 1394444"/>
                <a:gd name="connsiteX177" fmla="*/ 49375 w 1296888"/>
                <a:gd name="connsiteY177" fmla="*/ 1368718 h 1394444"/>
                <a:gd name="connsiteX178" fmla="*/ 48227 w 1296888"/>
                <a:gd name="connsiteY178" fmla="*/ 1372036 h 1394444"/>
                <a:gd name="connsiteX179" fmla="*/ 48227 w 1296888"/>
                <a:gd name="connsiteY179" fmla="*/ 1373184 h 1394444"/>
                <a:gd name="connsiteX180" fmla="*/ 41975 w 1296888"/>
                <a:gd name="connsiteY180" fmla="*/ 1374842 h 1394444"/>
                <a:gd name="connsiteX181" fmla="*/ 36872 w 1296888"/>
                <a:gd name="connsiteY181" fmla="*/ 1376501 h 1394444"/>
                <a:gd name="connsiteX182" fmla="*/ 35213 w 1296888"/>
                <a:gd name="connsiteY182" fmla="*/ 1378160 h 1394444"/>
                <a:gd name="connsiteX183" fmla="*/ 35723 w 1296888"/>
                <a:gd name="connsiteY183" fmla="*/ 1378160 h 1394444"/>
                <a:gd name="connsiteX184" fmla="*/ 35723 w 1296888"/>
                <a:gd name="connsiteY184" fmla="*/ 1381987 h 1394444"/>
                <a:gd name="connsiteX185" fmla="*/ 40189 w 1296888"/>
                <a:gd name="connsiteY185" fmla="*/ 1385815 h 1394444"/>
                <a:gd name="connsiteX186" fmla="*/ 44654 w 1296888"/>
                <a:gd name="connsiteY186" fmla="*/ 1390280 h 1394444"/>
                <a:gd name="connsiteX187" fmla="*/ 46951 w 1296888"/>
                <a:gd name="connsiteY187" fmla="*/ 1391939 h 1394444"/>
                <a:gd name="connsiteX188" fmla="*/ 48609 w 1296888"/>
                <a:gd name="connsiteY188" fmla="*/ 1393597 h 1394444"/>
                <a:gd name="connsiteX189" fmla="*/ 58816 w 1296888"/>
                <a:gd name="connsiteY189" fmla="*/ 1393597 h 1394444"/>
                <a:gd name="connsiteX190" fmla="*/ 62771 w 1296888"/>
                <a:gd name="connsiteY190" fmla="*/ 1393087 h 1394444"/>
                <a:gd name="connsiteX191" fmla="*/ 69533 w 1296888"/>
                <a:gd name="connsiteY191" fmla="*/ 1393087 h 1394444"/>
                <a:gd name="connsiteX192" fmla="*/ 71830 w 1296888"/>
                <a:gd name="connsiteY192" fmla="*/ 1389770 h 1394444"/>
                <a:gd name="connsiteX193" fmla="*/ 83057 w 1296888"/>
                <a:gd name="connsiteY193" fmla="*/ 1388622 h 1394444"/>
                <a:gd name="connsiteX194" fmla="*/ 85864 w 1296888"/>
                <a:gd name="connsiteY194" fmla="*/ 1388111 h 1394444"/>
                <a:gd name="connsiteX195" fmla="*/ 93136 w 1296888"/>
                <a:gd name="connsiteY195" fmla="*/ 1384284 h 1394444"/>
                <a:gd name="connsiteX196" fmla="*/ 99898 w 1296888"/>
                <a:gd name="connsiteY196" fmla="*/ 1382625 h 1394444"/>
                <a:gd name="connsiteX197" fmla="*/ 110615 w 1296888"/>
                <a:gd name="connsiteY197" fmla="*/ 1372674 h 1394444"/>
                <a:gd name="connsiteX198" fmla="*/ 110615 w 1296888"/>
                <a:gd name="connsiteY198" fmla="*/ 1369867 h 1394444"/>
                <a:gd name="connsiteX199" fmla="*/ 112912 w 1296888"/>
                <a:gd name="connsiteY199" fmla="*/ 1364253 h 1394444"/>
                <a:gd name="connsiteX200" fmla="*/ 121970 w 1296888"/>
                <a:gd name="connsiteY200" fmla="*/ 1366422 h 1394444"/>
                <a:gd name="connsiteX201" fmla="*/ 131029 w 1296888"/>
                <a:gd name="connsiteY201" fmla="*/ 1362595 h 1394444"/>
                <a:gd name="connsiteX202" fmla="*/ 142894 w 1296888"/>
                <a:gd name="connsiteY202" fmla="*/ 1360936 h 1394444"/>
                <a:gd name="connsiteX203" fmla="*/ 150294 w 1296888"/>
                <a:gd name="connsiteY203" fmla="*/ 1366550 h 1394444"/>
                <a:gd name="connsiteX204" fmla="*/ 150294 w 1296888"/>
                <a:gd name="connsiteY204" fmla="*/ 1368208 h 1394444"/>
                <a:gd name="connsiteX205" fmla="*/ 153738 w 1296888"/>
                <a:gd name="connsiteY205" fmla="*/ 1372674 h 1394444"/>
                <a:gd name="connsiteX206" fmla="*/ 154887 w 1296888"/>
                <a:gd name="connsiteY206" fmla="*/ 1378287 h 1394444"/>
                <a:gd name="connsiteX207" fmla="*/ 153228 w 1296888"/>
                <a:gd name="connsiteY207" fmla="*/ 1387218 h 1394444"/>
                <a:gd name="connsiteX208" fmla="*/ 156673 w 1296888"/>
                <a:gd name="connsiteY208" fmla="*/ 1388877 h 1394444"/>
                <a:gd name="connsiteX209" fmla="*/ 164583 w 1296888"/>
                <a:gd name="connsiteY209" fmla="*/ 1389387 h 1394444"/>
                <a:gd name="connsiteX210" fmla="*/ 166242 w 1296888"/>
                <a:gd name="connsiteY210" fmla="*/ 1389897 h 1394444"/>
                <a:gd name="connsiteX211" fmla="*/ 171345 w 1296888"/>
                <a:gd name="connsiteY211" fmla="*/ 1387091 h 1394444"/>
                <a:gd name="connsiteX212" fmla="*/ 175810 w 1296888"/>
                <a:gd name="connsiteY212" fmla="*/ 1383773 h 1394444"/>
                <a:gd name="connsiteX213" fmla="*/ 182572 w 1296888"/>
                <a:gd name="connsiteY213" fmla="*/ 1384284 h 1394444"/>
                <a:gd name="connsiteX214" fmla="*/ 197755 w 1296888"/>
                <a:gd name="connsiteY214" fmla="*/ 1387091 h 1394444"/>
                <a:gd name="connsiteX215" fmla="*/ 200562 w 1296888"/>
                <a:gd name="connsiteY215" fmla="*/ 1388239 h 1394444"/>
                <a:gd name="connsiteX216" fmla="*/ 204006 w 1296888"/>
                <a:gd name="connsiteY216" fmla="*/ 1388239 h 1394444"/>
                <a:gd name="connsiteX217" fmla="*/ 213575 w 1296888"/>
                <a:gd name="connsiteY217" fmla="*/ 1387091 h 1394444"/>
                <a:gd name="connsiteX218" fmla="*/ 217020 w 1296888"/>
                <a:gd name="connsiteY218" fmla="*/ 1380966 h 1394444"/>
                <a:gd name="connsiteX219" fmla="*/ 224420 w 1296888"/>
                <a:gd name="connsiteY219" fmla="*/ 1380966 h 1394444"/>
                <a:gd name="connsiteX220" fmla="*/ 228885 w 1296888"/>
                <a:gd name="connsiteY220" fmla="*/ 1382625 h 1394444"/>
                <a:gd name="connsiteX221" fmla="*/ 231182 w 1296888"/>
                <a:gd name="connsiteY221" fmla="*/ 1384284 h 1394444"/>
                <a:gd name="connsiteX222" fmla="*/ 233989 w 1296888"/>
                <a:gd name="connsiteY222" fmla="*/ 1384284 h 1394444"/>
                <a:gd name="connsiteX223" fmla="*/ 239092 w 1296888"/>
                <a:gd name="connsiteY223" fmla="*/ 1380966 h 1394444"/>
                <a:gd name="connsiteX224" fmla="*/ 239092 w 1296888"/>
                <a:gd name="connsiteY224" fmla="*/ 1372674 h 1394444"/>
                <a:gd name="connsiteX225" fmla="*/ 242537 w 1296888"/>
                <a:gd name="connsiteY225" fmla="*/ 1368846 h 1394444"/>
                <a:gd name="connsiteX226" fmla="*/ 254912 w 1296888"/>
                <a:gd name="connsiteY226" fmla="*/ 1368336 h 1394444"/>
                <a:gd name="connsiteX227" fmla="*/ 260526 w 1296888"/>
                <a:gd name="connsiteY227" fmla="*/ 1362722 h 1394444"/>
                <a:gd name="connsiteX228" fmla="*/ 264481 w 1296888"/>
                <a:gd name="connsiteY228" fmla="*/ 1361063 h 1394444"/>
                <a:gd name="connsiteX229" fmla="*/ 268436 w 1296888"/>
                <a:gd name="connsiteY229" fmla="*/ 1361063 h 1394444"/>
                <a:gd name="connsiteX230" fmla="*/ 276346 w 1296888"/>
                <a:gd name="connsiteY230" fmla="*/ 1356088 h 1394444"/>
                <a:gd name="connsiteX231" fmla="*/ 278643 w 1296888"/>
                <a:gd name="connsiteY231" fmla="*/ 1349964 h 1394444"/>
                <a:gd name="connsiteX232" fmla="*/ 282598 w 1296888"/>
                <a:gd name="connsiteY232" fmla="*/ 1346647 h 1394444"/>
                <a:gd name="connsiteX233" fmla="*/ 291019 w 1296888"/>
                <a:gd name="connsiteY233" fmla="*/ 1348305 h 1394444"/>
                <a:gd name="connsiteX234" fmla="*/ 293825 w 1296888"/>
                <a:gd name="connsiteY234" fmla="*/ 1354429 h 1394444"/>
                <a:gd name="connsiteX235" fmla="*/ 298291 w 1296888"/>
                <a:gd name="connsiteY235" fmla="*/ 1354429 h 1394444"/>
                <a:gd name="connsiteX236" fmla="*/ 301736 w 1296888"/>
                <a:gd name="connsiteY236" fmla="*/ 1351622 h 1394444"/>
                <a:gd name="connsiteX237" fmla="*/ 304032 w 1296888"/>
                <a:gd name="connsiteY237" fmla="*/ 1349964 h 1394444"/>
                <a:gd name="connsiteX238" fmla="*/ 311304 w 1296888"/>
                <a:gd name="connsiteY238" fmla="*/ 1352771 h 1394444"/>
                <a:gd name="connsiteX239" fmla="*/ 314749 w 1296888"/>
                <a:gd name="connsiteY239" fmla="*/ 1352771 h 1394444"/>
                <a:gd name="connsiteX240" fmla="*/ 325466 w 1296888"/>
                <a:gd name="connsiteY240" fmla="*/ 1354429 h 1394444"/>
                <a:gd name="connsiteX241" fmla="*/ 325466 w 1296888"/>
                <a:gd name="connsiteY241" fmla="*/ 1358894 h 1394444"/>
                <a:gd name="connsiteX242" fmla="*/ 325466 w 1296888"/>
                <a:gd name="connsiteY242" fmla="*/ 1366677 h 1394444"/>
                <a:gd name="connsiteX243" fmla="*/ 330570 w 1296888"/>
                <a:gd name="connsiteY243" fmla="*/ 1370632 h 1394444"/>
                <a:gd name="connsiteX244" fmla="*/ 332228 w 1296888"/>
                <a:gd name="connsiteY244" fmla="*/ 1373439 h 1394444"/>
                <a:gd name="connsiteX245" fmla="*/ 333376 w 1296888"/>
                <a:gd name="connsiteY245" fmla="*/ 1373439 h 1394444"/>
                <a:gd name="connsiteX246" fmla="*/ 340138 w 1296888"/>
                <a:gd name="connsiteY246" fmla="*/ 1379563 h 1394444"/>
                <a:gd name="connsiteX247" fmla="*/ 354300 w 1296888"/>
                <a:gd name="connsiteY247" fmla="*/ 1381222 h 1394444"/>
                <a:gd name="connsiteX248" fmla="*/ 361700 w 1296888"/>
                <a:gd name="connsiteY248" fmla="*/ 1381222 h 1394444"/>
                <a:gd name="connsiteX249" fmla="*/ 366165 w 1296888"/>
                <a:gd name="connsiteY249" fmla="*/ 1378415 h 1394444"/>
                <a:gd name="connsiteX250" fmla="*/ 368462 w 1296888"/>
                <a:gd name="connsiteY250" fmla="*/ 1374587 h 1394444"/>
                <a:gd name="connsiteX251" fmla="*/ 374076 w 1296888"/>
                <a:gd name="connsiteY251" fmla="*/ 1376756 h 1394444"/>
                <a:gd name="connsiteX252" fmla="*/ 376372 w 1296888"/>
                <a:gd name="connsiteY252" fmla="*/ 1378415 h 1394444"/>
                <a:gd name="connsiteX253" fmla="*/ 379179 w 1296888"/>
                <a:gd name="connsiteY253" fmla="*/ 1380584 h 1394444"/>
                <a:gd name="connsiteX254" fmla="*/ 382624 w 1296888"/>
                <a:gd name="connsiteY254" fmla="*/ 1380584 h 1394444"/>
                <a:gd name="connsiteX255" fmla="*/ 386579 w 1296888"/>
                <a:gd name="connsiteY255" fmla="*/ 1380584 h 1394444"/>
                <a:gd name="connsiteX256" fmla="*/ 394489 w 1296888"/>
                <a:gd name="connsiteY256" fmla="*/ 1378415 h 1394444"/>
                <a:gd name="connsiteX257" fmla="*/ 401761 w 1296888"/>
                <a:gd name="connsiteY257" fmla="*/ 1376756 h 1394444"/>
                <a:gd name="connsiteX258" fmla="*/ 408013 w 1296888"/>
                <a:gd name="connsiteY258" fmla="*/ 1376246 h 1394444"/>
                <a:gd name="connsiteX259" fmla="*/ 410820 w 1296888"/>
                <a:gd name="connsiteY259" fmla="*/ 1370632 h 1394444"/>
                <a:gd name="connsiteX260" fmla="*/ 404058 w 1296888"/>
                <a:gd name="connsiteY260" fmla="*/ 1372801 h 1394444"/>
                <a:gd name="connsiteX261" fmla="*/ 398444 w 1296888"/>
                <a:gd name="connsiteY261" fmla="*/ 1368336 h 1394444"/>
                <a:gd name="connsiteX262" fmla="*/ 396786 w 1296888"/>
                <a:gd name="connsiteY262" fmla="*/ 1362722 h 1394444"/>
                <a:gd name="connsiteX263" fmla="*/ 401889 w 1296888"/>
                <a:gd name="connsiteY263" fmla="*/ 1357746 h 1394444"/>
                <a:gd name="connsiteX264" fmla="*/ 405844 w 1296888"/>
                <a:gd name="connsiteY264" fmla="*/ 1353281 h 1394444"/>
                <a:gd name="connsiteX265" fmla="*/ 412606 w 1296888"/>
                <a:gd name="connsiteY265" fmla="*/ 1351622 h 1394444"/>
                <a:gd name="connsiteX266" fmla="*/ 420006 w 1296888"/>
                <a:gd name="connsiteY266" fmla="*/ 1349964 h 1394444"/>
                <a:gd name="connsiteX267" fmla="*/ 420006 w 1296888"/>
                <a:gd name="connsiteY267" fmla="*/ 1346647 h 1394444"/>
                <a:gd name="connsiteX268" fmla="*/ 427916 w 1296888"/>
                <a:gd name="connsiteY268" fmla="*/ 1346136 h 1394444"/>
                <a:gd name="connsiteX269" fmla="*/ 432381 w 1296888"/>
                <a:gd name="connsiteY269" fmla="*/ 1342309 h 1394444"/>
                <a:gd name="connsiteX270" fmla="*/ 432892 w 1296888"/>
                <a:gd name="connsiteY270" fmla="*/ 1343457 h 1394444"/>
                <a:gd name="connsiteX271" fmla="*/ 436336 w 1296888"/>
                <a:gd name="connsiteY271" fmla="*/ 1345626 h 1394444"/>
                <a:gd name="connsiteX272" fmla="*/ 442588 w 1296888"/>
                <a:gd name="connsiteY272" fmla="*/ 1347284 h 1394444"/>
                <a:gd name="connsiteX273" fmla="*/ 445395 w 1296888"/>
                <a:gd name="connsiteY273" fmla="*/ 1352898 h 1394444"/>
                <a:gd name="connsiteX274" fmla="*/ 444247 w 1296888"/>
                <a:gd name="connsiteY274" fmla="*/ 1359022 h 1394444"/>
                <a:gd name="connsiteX275" fmla="*/ 442588 w 1296888"/>
                <a:gd name="connsiteY275" fmla="*/ 1362850 h 1394444"/>
                <a:gd name="connsiteX276" fmla="*/ 447054 w 1296888"/>
                <a:gd name="connsiteY276" fmla="*/ 1364508 h 1394444"/>
                <a:gd name="connsiteX277" fmla="*/ 452157 w 1296888"/>
                <a:gd name="connsiteY277" fmla="*/ 1364508 h 1394444"/>
                <a:gd name="connsiteX278" fmla="*/ 453305 w 1296888"/>
                <a:gd name="connsiteY278" fmla="*/ 1366167 h 1394444"/>
                <a:gd name="connsiteX279" fmla="*/ 453305 w 1296888"/>
                <a:gd name="connsiteY279" fmla="*/ 1366677 h 1394444"/>
                <a:gd name="connsiteX280" fmla="*/ 456750 w 1296888"/>
                <a:gd name="connsiteY280" fmla="*/ 1367825 h 1394444"/>
                <a:gd name="connsiteX281" fmla="*/ 456750 w 1296888"/>
                <a:gd name="connsiteY281" fmla="*/ 1364508 h 1394444"/>
                <a:gd name="connsiteX282" fmla="*/ 458408 w 1296888"/>
                <a:gd name="connsiteY282" fmla="*/ 1361191 h 1394444"/>
                <a:gd name="connsiteX283" fmla="*/ 460705 w 1296888"/>
                <a:gd name="connsiteY283" fmla="*/ 1356726 h 1394444"/>
                <a:gd name="connsiteX284" fmla="*/ 461215 w 1296888"/>
                <a:gd name="connsiteY284" fmla="*/ 1351112 h 1394444"/>
                <a:gd name="connsiteX285" fmla="*/ 458919 w 1296888"/>
                <a:gd name="connsiteY285" fmla="*/ 1347284 h 1394444"/>
                <a:gd name="connsiteX286" fmla="*/ 461215 w 1296888"/>
                <a:gd name="connsiteY286" fmla="*/ 1337843 h 1394444"/>
                <a:gd name="connsiteX287" fmla="*/ 465170 w 1296888"/>
                <a:gd name="connsiteY287" fmla="*/ 1336695 h 1394444"/>
                <a:gd name="connsiteX288" fmla="*/ 464022 w 1296888"/>
                <a:gd name="connsiteY288" fmla="*/ 1340012 h 1394444"/>
                <a:gd name="connsiteX289" fmla="*/ 470274 w 1296888"/>
                <a:gd name="connsiteY289" fmla="*/ 1340012 h 1394444"/>
                <a:gd name="connsiteX290" fmla="*/ 471932 w 1296888"/>
                <a:gd name="connsiteY290" fmla="*/ 1336695 h 1394444"/>
                <a:gd name="connsiteX291" fmla="*/ 473081 w 1296888"/>
                <a:gd name="connsiteY291" fmla="*/ 1335036 h 1394444"/>
                <a:gd name="connsiteX292" fmla="*/ 471422 w 1296888"/>
                <a:gd name="connsiteY292" fmla="*/ 1328402 h 1394444"/>
                <a:gd name="connsiteX293" fmla="*/ 466957 w 1296888"/>
                <a:gd name="connsiteY293" fmla="*/ 1324447 h 1394444"/>
                <a:gd name="connsiteX294" fmla="*/ 463512 w 1296888"/>
                <a:gd name="connsiteY294" fmla="*/ 1319981 h 1394444"/>
                <a:gd name="connsiteX295" fmla="*/ 463512 w 1296888"/>
                <a:gd name="connsiteY295" fmla="*/ 1315516 h 1394444"/>
                <a:gd name="connsiteX296" fmla="*/ 458408 w 1296888"/>
                <a:gd name="connsiteY296" fmla="*/ 1318323 h 1394444"/>
                <a:gd name="connsiteX297" fmla="*/ 453943 w 1296888"/>
                <a:gd name="connsiteY297" fmla="*/ 1321130 h 1394444"/>
                <a:gd name="connsiteX298" fmla="*/ 446543 w 1296888"/>
                <a:gd name="connsiteY298" fmla="*/ 1319981 h 1394444"/>
                <a:gd name="connsiteX299" fmla="*/ 439781 w 1296888"/>
                <a:gd name="connsiteY299" fmla="*/ 1319471 h 1394444"/>
                <a:gd name="connsiteX300" fmla="*/ 433019 w 1296888"/>
                <a:gd name="connsiteY300" fmla="*/ 1319981 h 1394444"/>
                <a:gd name="connsiteX301" fmla="*/ 431361 w 1296888"/>
                <a:gd name="connsiteY301" fmla="*/ 1322788 h 1394444"/>
                <a:gd name="connsiteX302" fmla="*/ 429064 w 1296888"/>
                <a:gd name="connsiteY302" fmla="*/ 1329423 h 1394444"/>
                <a:gd name="connsiteX303" fmla="*/ 429064 w 1296888"/>
                <a:gd name="connsiteY303" fmla="*/ 1332230 h 1394444"/>
                <a:gd name="connsiteX304" fmla="*/ 425109 w 1296888"/>
                <a:gd name="connsiteY304" fmla="*/ 1332230 h 1394444"/>
                <a:gd name="connsiteX305" fmla="*/ 411585 w 1296888"/>
                <a:gd name="connsiteY305" fmla="*/ 1332230 h 1394444"/>
                <a:gd name="connsiteX306" fmla="*/ 405334 w 1296888"/>
                <a:gd name="connsiteY306" fmla="*/ 1331081 h 1394444"/>
                <a:gd name="connsiteX307" fmla="*/ 403037 w 1296888"/>
                <a:gd name="connsiteY307" fmla="*/ 1333888 h 1394444"/>
                <a:gd name="connsiteX308" fmla="*/ 400230 w 1296888"/>
                <a:gd name="connsiteY308" fmla="*/ 1333378 h 1394444"/>
                <a:gd name="connsiteX309" fmla="*/ 403037 w 1296888"/>
                <a:gd name="connsiteY309" fmla="*/ 1329550 h 1394444"/>
                <a:gd name="connsiteX310" fmla="*/ 399082 w 1296888"/>
                <a:gd name="connsiteY310" fmla="*/ 1327892 h 1394444"/>
                <a:gd name="connsiteX311" fmla="*/ 395637 w 1296888"/>
                <a:gd name="connsiteY311" fmla="*/ 1327892 h 1394444"/>
                <a:gd name="connsiteX312" fmla="*/ 392193 w 1296888"/>
                <a:gd name="connsiteY312" fmla="*/ 1327892 h 1394444"/>
                <a:gd name="connsiteX313" fmla="*/ 392193 w 1296888"/>
                <a:gd name="connsiteY313" fmla="*/ 1328402 h 1394444"/>
                <a:gd name="connsiteX314" fmla="*/ 388748 w 1296888"/>
                <a:gd name="connsiteY314" fmla="*/ 1326233 h 1394444"/>
                <a:gd name="connsiteX315" fmla="*/ 384793 w 1296888"/>
                <a:gd name="connsiteY315" fmla="*/ 1319599 h 1394444"/>
                <a:gd name="connsiteX316" fmla="*/ 376882 w 1296888"/>
                <a:gd name="connsiteY316" fmla="*/ 1316792 h 1394444"/>
                <a:gd name="connsiteX317" fmla="*/ 379179 w 1296888"/>
                <a:gd name="connsiteY317" fmla="*/ 1310668 h 1394444"/>
                <a:gd name="connsiteX318" fmla="*/ 376882 w 1296888"/>
                <a:gd name="connsiteY318" fmla="*/ 1302885 h 1394444"/>
                <a:gd name="connsiteX319" fmla="*/ 376882 w 1296888"/>
                <a:gd name="connsiteY319" fmla="*/ 1295613 h 1394444"/>
                <a:gd name="connsiteX320" fmla="*/ 382496 w 1296888"/>
                <a:gd name="connsiteY320" fmla="*/ 1290637 h 1394444"/>
                <a:gd name="connsiteX321" fmla="*/ 387600 w 1296888"/>
                <a:gd name="connsiteY321" fmla="*/ 1287320 h 1394444"/>
                <a:gd name="connsiteX322" fmla="*/ 392065 w 1296888"/>
                <a:gd name="connsiteY322" fmla="*/ 1285662 h 1394444"/>
                <a:gd name="connsiteX323" fmla="*/ 397168 w 1296888"/>
                <a:gd name="connsiteY323" fmla="*/ 1282855 h 1394444"/>
                <a:gd name="connsiteX324" fmla="*/ 396658 w 1296888"/>
                <a:gd name="connsiteY324" fmla="*/ 1276220 h 1394444"/>
                <a:gd name="connsiteX325" fmla="*/ 398317 w 1296888"/>
                <a:gd name="connsiteY325" fmla="*/ 1270607 h 1394444"/>
                <a:gd name="connsiteX326" fmla="*/ 402782 w 1296888"/>
                <a:gd name="connsiteY326" fmla="*/ 1264483 h 1394444"/>
                <a:gd name="connsiteX327" fmla="*/ 403292 w 1296888"/>
                <a:gd name="connsiteY327" fmla="*/ 1258358 h 1394444"/>
                <a:gd name="connsiteX328" fmla="*/ 410565 w 1296888"/>
                <a:gd name="connsiteY328" fmla="*/ 1252234 h 1394444"/>
                <a:gd name="connsiteX329" fmla="*/ 414009 w 1296888"/>
                <a:gd name="connsiteY329" fmla="*/ 1251724 h 1394444"/>
                <a:gd name="connsiteX330" fmla="*/ 416816 w 1296888"/>
                <a:gd name="connsiteY330" fmla="*/ 1252234 h 1394444"/>
                <a:gd name="connsiteX331" fmla="*/ 418475 w 1296888"/>
                <a:gd name="connsiteY331" fmla="*/ 1250066 h 1394444"/>
                <a:gd name="connsiteX332" fmla="*/ 424726 w 1296888"/>
                <a:gd name="connsiteY332" fmla="*/ 1250576 h 1394444"/>
                <a:gd name="connsiteX333" fmla="*/ 427023 w 1296888"/>
                <a:gd name="connsiteY333" fmla="*/ 1252234 h 1394444"/>
                <a:gd name="connsiteX334" fmla="*/ 431488 w 1296888"/>
                <a:gd name="connsiteY334" fmla="*/ 1248917 h 1394444"/>
                <a:gd name="connsiteX335" fmla="*/ 436592 w 1296888"/>
                <a:gd name="connsiteY335" fmla="*/ 1246110 h 1394444"/>
                <a:gd name="connsiteX336" fmla="*/ 442843 w 1296888"/>
                <a:gd name="connsiteY336" fmla="*/ 1244452 h 1394444"/>
                <a:gd name="connsiteX337" fmla="*/ 446288 w 1296888"/>
                <a:gd name="connsiteY337" fmla="*/ 1248279 h 1394444"/>
                <a:gd name="connsiteX338" fmla="*/ 450243 w 1296888"/>
                <a:gd name="connsiteY338" fmla="*/ 1246110 h 1394444"/>
                <a:gd name="connsiteX339" fmla="*/ 450243 w 1296888"/>
                <a:gd name="connsiteY339" fmla="*/ 1240497 h 1394444"/>
                <a:gd name="connsiteX340" fmla="*/ 445778 w 1296888"/>
                <a:gd name="connsiteY340" fmla="*/ 1234373 h 1394444"/>
                <a:gd name="connsiteX341" fmla="*/ 448585 w 1296888"/>
                <a:gd name="connsiteY341" fmla="*/ 1231056 h 1394444"/>
                <a:gd name="connsiteX342" fmla="*/ 452029 w 1296888"/>
                <a:gd name="connsiteY342" fmla="*/ 1233225 h 1394444"/>
                <a:gd name="connsiteX343" fmla="*/ 454836 w 1296888"/>
                <a:gd name="connsiteY343" fmla="*/ 1233225 h 1394444"/>
                <a:gd name="connsiteX344" fmla="*/ 457133 w 1296888"/>
                <a:gd name="connsiteY344" fmla="*/ 1233225 h 1394444"/>
                <a:gd name="connsiteX345" fmla="*/ 459940 w 1296888"/>
                <a:gd name="connsiteY345" fmla="*/ 1234373 h 1394444"/>
                <a:gd name="connsiteX346" fmla="*/ 464405 w 1296888"/>
                <a:gd name="connsiteY346" fmla="*/ 1233225 h 1394444"/>
                <a:gd name="connsiteX347" fmla="*/ 470657 w 1296888"/>
                <a:gd name="connsiteY347" fmla="*/ 1236031 h 1394444"/>
                <a:gd name="connsiteX348" fmla="*/ 470657 w 1296888"/>
                <a:gd name="connsiteY348" fmla="*/ 1239349 h 1394444"/>
                <a:gd name="connsiteX349" fmla="*/ 469508 w 1296888"/>
                <a:gd name="connsiteY349" fmla="*/ 1244324 h 1394444"/>
                <a:gd name="connsiteX350" fmla="*/ 469508 w 1296888"/>
                <a:gd name="connsiteY350" fmla="*/ 1248790 h 1394444"/>
                <a:gd name="connsiteX351" fmla="*/ 471167 w 1296888"/>
                <a:gd name="connsiteY351" fmla="*/ 1252107 h 1394444"/>
                <a:gd name="connsiteX352" fmla="*/ 470657 w 1296888"/>
                <a:gd name="connsiteY352" fmla="*/ 1256572 h 1394444"/>
                <a:gd name="connsiteX353" fmla="*/ 474101 w 1296888"/>
                <a:gd name="connsiteY353" fmla="*/ 1260528 h 1394444"/>
                <a:gd name="connsiteX354" fmla="*/ 477546 w 1296888"/>
                <a:gd name="connsiteY354" fmla="*/ 1260528 h 1394444"/>
                <a:gd name="connsiteX355" fmla="*/ 480353 w 1296888"/>
                <a:gd name="connsiteY355" fmla="*/ 1256572 h 1394444"/>
                <a:gd name="connsiteX356" fmla="*/ 483798 w 1296888"/>
                <a:gd name="connsiteY356" fmla="*/ 1256572 h 1394444"/>
                <a:gd name="connsiteX357" fmla="*/ 484308 w 1296888"/>
                <a:gd name="connsiteY357" fmla="*/ 1256572 h 1394444"/>
                <a:gd name="connsiteX358" fmla="*/ 483798 w 1296888"/>
                <a:gd name="connsiteY358" fmla="*/ 1253255 h 1394444"/>
                <a:gd name="connsiteX359" fmla="*/ 483798 w 1296888"/>
                <a:gd name="connsiteY359" fmla="*/ 1250448 h 1394444"/>
                <a:gd name="connsiteX360" fmla="*/ 483798 w 1296888"/>
                <a:gd name="connsiteY360" fmla="*/ 1242666 h 1394444"/>
                <a:gd name="connsiteX361" fmla="*/ 483798 w 1296888"/>
                <a:gd name="connsiteY361" fmla="*/ 1240497 h 1394444"/>
                <a:gd name="connsiteX362" fmla="*/ 483798 w 1296888"/>
                <a:gd name="connsiteY362" fmla="*/ 1236031 h 1394444"/>
                <a:gd name="connsiteX363" fmla="*/ 488263 w 1296888"/>
                <a:gd name="connsiteY363" fmla="*/ 1236031 h 1394444"/>
                <a:gd name="connsiteX364" fmla="*/ 489922 w 1296888"/>
                <a:gd name="connsiteY364" fmla="*/ 1239349 h 1394444"/>
                <a:gd name="connsiteX365" fmla="*/ 490432 w 1296888"/>
                <a:gd name="connsiteY365" fmla="*/ 1242155 h 1394444"/>
                <a:gd name="connsiteX366" fmla="*/ 494387 w 1296888"/>
                <a:gd name="connsiteY366" fmla="*/ 1243814 h 1394444"/>
                <a:gd name="connsiteX367" fmla="*/ 497832 w 1296888"/>
                <a:gd name="connsiteY367" fmla="*/ 1249938 h 1394444"/>
                <a:gd name="connsiteX368" fmla="*/ 500639 w 1296888"/>
                <a:gd name="connsiteY368" fmla="*/ 1252107 h 1394444"/>
                <a:gd name="connsiteX369" fmla="*/ 500639 w 1296888"/>
                <a:gd name="connsiteY369" fmla="*/ 1255935 h 1394444"/>
                <a:gd name="connsiteX370" fmla="*/ 500639 w 1296888"/>
                <a:gd name="connsiteY370" fmla="*/ 1262569 h 1394444"/>
                <a:gd name="connsiteX371" fmla="*/ 504594 w 1296888"/>
                <a:gd name="connsiteY371" fmla="*/ 1263717 h 1394444"/>
                <a:gd name="connsiteX372" fmla="*/ 508039 w 1296888"/>
                <a:gd name="connsiteY372" fmla="*/ 1259252 h 1394444"/>
                <a:gd name="connsiteX373" fmla="*/ 518245 w 1296888"/>
                <a:gd name="connsiteY373" fmla="*/ 1259252 h 1394444"/>
                <a:gd name="connsiteX374" fmla="*/ 520542 w 1296888"/>
                <a:gd name="connsiteY374" fmla="*/ 1264227 h 1394444"/>
                <a:gd name="connsiteX375" fmla="*/ 522838 w 1296888"/>
                <a:gd name="connsiteY375" fmla="*/ 1265376 h 1394444"/>
                <a:gd name="connsiteX376" fmla="*/ 523349 w 1296888"/>
                <a:gd name="connsiteY376" fmla="*/ 1270351 h 1394444"/>
                <a:gd name="connsiteX377" fmla="*/ 518245 w 1296888"/>
                <a:gd name="connsiteY377" fmla="*/ 1270351 h 1394444"/>
                <a:gd name="connsiteX378" fmla="*/ 515438 w 1296888"/>
                <a:gd name="connsiteY378" fmla="*/ 1272010 h 1394444"/>
                <a:gd name="connsiteX379" fmla="*/ 514928 w 1296888"/>
                <a:gd name="connsiteY379" fmla="*/ 1272010 h 1394444"/>
                <a:gd name="connsiteX380" fmla="*/ 514928 w 1296888"/>
                <a:gd name="connsiteY380" fmla="*/ 1273669 h 1394444"/>
                <a:gd name="connsiteX381" fmla="*/ 513780 w 1296888"/>
                <a:gd name="connsiteY381" fmla="*/ 1277496 h 1394444"/>
                <a:gd name="connsiteX382" fmla="*/ 510335 w 1296888"/>
                <a:gd name="connsiteY382" fmla="*/ 1279665 h 1394444"/>
                <a:gd name="connsiteX383" fmla="*/ 507528 w 1296888"/>
                <a:gd name="connsiteY383" fmla="*/ 1282472 h 1394444"/>
                <a:gd name="connsiteX384" fmla="*/ 505870 w 1296888"/>
                <a:gd name="connsiteY384" fmla="*/ 1288596 h 1394444"/>
                <a:gd name="connsiteX385" fmla="*/ 501404 w 1296888"/>
                <a:gd name="connsiteY385" fmla="*/ 1291913 h 1394444"/>
                <a:gd name="connsiteX386" fmla="*/ 496301 w 1296888"/>
                <a:gd name="connsiteY386" fmla="*/ 1293572 h 1394444"/>
                <a:gd name="connsiteX387" fmla="*/ 494642 w 1296888"/>
                <a:gd name="connsiteY387" fmla="*/ 1295741 h 1394444"/>
                <a:gd name="connsiteX388" fmla="*/ 494642 w 1296888"/>
                <a:gd name="connsiteY388" fmla="*/ 1302375 h 1394444"/>
                <a:gd name="connsiteX389" fmla="*/ 488391 w 1296888"/>
                <a:gd name="connsiteY389" fmla="*/ 1304033 h 1394444"/>
                <a:gd name="connsiteX390" fmla="*/ 487242 w 1296888"/>
                <a:gd name="connsiteY390" fmla="*/ 1305182 h 1394444"/>
                <a:gd name="connsiteX391" fmla="*/ 488391 w 1296888"/>
                <a:gd name="connsiteY391" fmla="*/ 1306840 h 1394444"/>
                <a:gd name="connsiteX392" fmla="*/ 491835 w 1296888"/>
                <a:gd name="connsiteY392" fmla="*/ 1308499 h 1394444"/>
                <a:gd name="connsiteX393" fmla="*/ 495280 w 1296888"/>
                <a:gd name="connsiteY393" fmla="*/ 1307989 h 1394444"/>
                <a:gd name="connsiteX394" fmla="*/ 496939 w 1296888"/>
                <a:gd name="connsiteY394" fmla="*/ 1306840 h 1394444"/>
                <a:gd name="connsiteX395" fmla="*/ 498087 w 1296888"/>
                <a:gd name="connsiteY395" fmla="*/ 1305692 h 1394444"/>
                <a:gd name="connsiteX396" fmla="*/ 500384 w 1296888"/>
                <a:gd name="connsiteY396" fmla="*/ 1305182 h 1394444"/>
                <a:gd name="connsiteX397" fmla="*/ 503190 w 1296888"/>
                <a:gd name="connsiteY397" fmla="*/ 1304033 h 1394444"/>
                <a:gd name="connsiteX398" fmla="*/ 504339 w 1296888"/>
                <a:gd name="connsiteY398" fmla="*/ 1304033 h 1394444"/>
                <a:gd name="connsiteX399" fmla="*/ 505487 w 1296888"/>
                <a:gd name="connsiteY399" fmla="*/ 1304544 h 1394444"/>
                <a:gd name="connsiteX400" fmla="*/ 505997 w 1296888"/>
                <a:gd name="connsiteY400" fmla="*/ 1304544 h 1394444"/>
                <a:gd name="connsiteX401" fmla="*/ 506508 w 1296888"/>
                <a:gd name="connsiteY401" fmla="*/ 1305054 h 1394444"/>
                <a:gd name="connsiteX402" fmla="*/ 508804 w 1296888"/>
                <a:gd name="connsiteY402" fmla="*/ 1306202 h 1394444"/>
                <a:gd name="connsiteX403" fmla="*/ 512759 w 1296888"/>
                <a:gd name="connsiteY403" fmla="*/ 1305054 h 1394444"/>
                <a:gd name="connsiteX404" fmla="*/ 517225 w 1296888"/>
                <a:gd name="connsiteY404" fmla="*/ 1303906 h 1394444"/>
                <a:gd name="connsiteX405" fmla="*/ 519521 w 1296888"/>
                <a:gd name="connsiteY405" fmla="*/ 1305565 h 1394444"/>
                <a:gd name="connsiteX406" fmla="*/ 522328 w 1296888"/>
                <a:gd name="connsiteY406" fmla="*/ 1305565 h 1394444"/>
                <a:gd name="connsiteX407" fmla="*/ 522838 w 1296888"/>
                <a:gd name="connsiteY407" fmla="*/ 1306075 h 1394444"/>
                <a:gd name="connsiteX408" fmla="*/ 525135 w 1296888"/>
                <a:gd name="connsiteY408" fmla="*/ 1306075 h 1394444"/>
                <a:gd name="connsiteX409" fmla="*/ 526283 w 1296888"/>
                <a:gd name="connsiteY409" fmla="*/ 1306585 h 1394444"/>
                <a:gd name="connsiteX410" fmla="*/ 527942 w 1296888"/>
                <a:gd name="connsiteY410" fmla="*/ 1306585 h 1394444"/>
                <a:gd name="connsiteX411" fmla="*/ 531897 w 1296888"/>
                <a:gd name="connsiteY411" fmla="*/ 1308244 h 1394444"/>
                <a:gd name="connsiteX412" fmla="*/ 533045 w 1296888"/>
                <a:gd name="connsiteY412" fmla="*/ 1308244 h 1394444"/>
                <a:gd name="connsiteX413" fmla="*/ 534704 w 1296888"/>
                <a:gd name="connsiteY413" fmla="*/ 1311051 h 1394444"/>
                <a:gd name="connsiteX414" fmla="*/ 537510 w 1296888"/>
                <a:gd name="connsiteY414" fmla="*/ 1312709 h 1394444"/>
                <a:gd name="connsiteX415" fmla="*/ 541466 w 1296888"/>
                <a:gd name="connsiteY415" fmla="*/ 1314878 h 1394444"/>
                <a:gd name="connsiteX416" fmla="*/ 546569 w 1296888"/>
                <a:gd name="connsiteY416" fmla="*/ 1314878 h 1394444"/>
                <a:gd name="connsiteX417" fmla="*/ 546569 w 1296888"/>
                <a:gd name="connsiteY417" fmla="*/ 1314368 h 1394444"/>
                <a:gd name="connsiteX418" fmla="*/ 547079 w 1296888"/>
                <a:gd name="connsiteY418" fmla="*/ 1314368 h 1394444"/>
                <a:gd name="connsiteX419" fmla="*/ 548738 w 1296888"/>
                <a:gd name="connsiteY419" fmla="*/ 1309902 h 1394444"/>
                <a:gd name="connsiteX420" fmla="*/ 549886 w 1296888"/>
                <a:gd name="connsiteY420" fmla="*/ 1305437 h 1394444"/>
                <a:gd name="connsiteX421" fmla="*/ 548738 w 1296888"/>
                <a:gd name="connsiteY421" fmla="*/ 1302120 h 1394444"/>
                <a:gd name="connsiteX422" fmla="*/ 547079 w 1296888"/>
                <a:gd name="connsiteY422" fmla="*/ 1297654 h 1394444"/>
                <a:gd name="connsiteX423" fmla="*/ 536873 w 1296888"/>
                <a:gd name="connsiteY423" fmla="*/ 1294847 h 1394444"/>
                <a:gd name="connsiteX424" fmla="*/ 536873 w 1296888"/>
                <a:gd name="connsiteY424" fmla="*/ 1288213 h 1394444"/>
                <a:gd name="connsiteX425" fmla="*/ 541976 w 1296888"/>
                <a:gd name="connsiteY425" fmla="*/ 1284896 h 1394444"/>
                <a:gd name="connsiteX426" fmla="*/ 548227 w 1296888"/>
                <a:gd name="connsiteY426" fmla="*/ 1283237 h 1394444"/>
                <a:gd name="connsiteX427" fmla="*/ 551034 w 1296888"/>
                <a:gd name="connsiteY427" fmla="*/ 1275455 h 1394444"/>
                <a:gd name="connsiteX428" fmla="*/ 554479 w 1296888"/>
                <a:gd name="connsiteY428" fmla="*/ 1284386 h 1394444"/>
                <a:gd name="connsiteX429" fmla="*/ 557924 w 1296888"/>
                <a:gd name="connsiteY429" fmla="*/ 1288851 h 1394444"/>
                <a:gd name="connsiteX430" fmla="*/ 563538 w 1296888"/>
                <a:gd name="connsiteY430" fmla="*/ 1292168 h 1394444"/>
                <a:gd name="connsiteX431" fmla="*/ 570299 w 1296888"/>
                <a:gd name="connsiteY431" fmla="*/ 1293827 h 1394444"/>
                <a:gd name="connsiteX432" fmla="*/ 575913 w 1296888"/>
                <a:gd name="connsiteY432" fmla="*/ 1296634 h 1394444"/>
                <a:gd name="connsiteX433" fmla="*/ 575913 w 1296888"/>
                <a:gd name="connsiteY433" fmla="*/ 1299951 h 1394444"/>
                <a:gd name="connsiteX434" fmla="*/ 574765 w 1296888"/>
                <a:gd name="connsiteY434" fmla="*/ 1302758 h 1394444"/>
                <a:gd name="connsiteX435" fmla="*/ 573617 w 1296888"/>
                <a:gd name="connsiteY435" fmla="*/ 1307733 h 1394444"/>
                <a:gd name="connsiteX436" fmla="*/ 575275 w 1296888"/>
                <a:gd name="connsiteY436" fmla="*/ 1314368 h 1394444"/>
                <a:gd name="connsiteX437" fmla="*/ 582548 w 1296888"/>
                <a:gd name="connsiteY437" fmla="*/ 1318195 h 1394444"/>
                <a:gd name="connsiteX438" fmla="*/ 582548 w 1296888"/>
                <a:gd name="connsiteY438" fmla="*/ 1324319 h 1394444"/>
                <a:gd name="connsiteX439" fmla="*/ 579996 w 1296888"/>
                <a:gd name="connsiteY439" fmla="*/ 1330316 h 1394444"/>
                <a:gd name="connsiteX440" fmla="*/ 584716 w 1296888"/>
                <a:gd name="connsiteY440" fmla="*/ 1331081 h 1394444"/>
                <a:gd name="connsiteX441" fmla="*/ 596582 w 1296888"/>
                <a:gd name="connsiteY441" fmla="*/ 1333123 h 1394444"/>
                <a:gd name="connsiteX442" fmla="*/ 602578 w 1296888"/>
                <a:gd name="connsiteY442" fmla="*/ 1332612 h 1394444"/>
                <a:gd name="connsiteX443" fmla="*/ 619802 w 1296888"/>
                <a:gd name="connsiteY443" fmla="*/ 1324702 h 1394444"/>
                <a:gd name="connsiteX444" fmla="*/ 625543 w 1296888"/>
                <a:gd name="connsiteY444" fmla="*/ 1322278 h 1394444"/>
                <a:gd name="connsiteX445" fmla="*/ 636388 w 1296888"/>
                <a:gd name="connsiteY445" fmla="*/ 1314495 h 1394444"/>
                <a:gd name="connsiteX446" fmla="*/ 639067 w 1296888"/>
                <a:gd name="connsiteY446" fmla="*/ 1307989 h 1394444"/>
                <a:gd name="connsiteX447" fmla="*/ 634602 w 1296888"/>
                <a:gd name="connsiteY447" fmla="*/ 1303778 h 1394444"/>
                <a:gd name="connsiteX448" fmla="*/ 625033 w 1296888"/>
                <a:gd name="connsiteY448" fmla="*/ 1297272 h 1394444"/>
                <a:gd name="connsiteX449" fmla="*/ 621078 w 1296888"/>
                <a:gd name="connsiteY449" fmla="*/ 1294210 h 1394444"/>
                <a:gd name="connsiteX450" fmla="*/ 618143 w 1296888"/>
                <a:gd name="connsiteY450" fmla="*/ 1287575 h 1394444"/>
                <a:gd name="connsiteX451" fmla="*/ 625033 w 1296888"/>
                <a:gd name="connsiteY451" fmla="*/ 1285534 h 1394444"/>
                <a:gd name="connsiteX452" fmla="*/ 625543 w 1296888"/>
                <a:gd name="connsiteY452" fmla="*/ 1285534 h 1394444"/>
                <a:gd name="connsiteX453" fmla="*/ 631922 w 1296888"/>
                <a:gd name="connsiteY453" fmla="*/ 1289489 h 1394444"/>
                <a:gd name="connsiteX454" fmla="*/ 634729 w 1296888"/>
                <a:gd name="connsiteY454" fmla="*/ 1291786 h 1394444"/>
                <a:gd name="connsiteX455" fmla="*/ 636515 w 1296888"/>
                <a:gd name="connsiteY455" fmla="*/ 1293189 h 1394444"/>
                <a:gd name="connsiteX456" fmla="*/ 637664 w 1296888"/>
                <a:gd name="connsiteY456" fmla="*/ 1294210 h 1394444"/>
                <a:gd name="connsiteX457" fmla="*/ 641746 w 1296888"/>
                <a:gd name="connsiteY457" fmla="*/ 1294465 h 1394444"/>
                <a:gd name="connsiteX458" fmla="*/ 642002 w 1296888"/>
                <a:gd name="connsiteY458" fmla="*/ 1294082 h 1394444"/>
                <a:gd name="connsiteX459" fmla="*/ 641108 w 1296888"/>
                <a:gd name="connsiteY459" fmla="*/ 1293444 h 1394444"/>
                <a:gd name="connsiteX460" fmla="*/ 639450 w 1296888"/>
                <a:gd name="connsiteY460" fmla="*/ 1292168 h 1394444"/>
                <a:gd name="connsiteX461" fmla="*/ 638684 w 1296888"/>
                <a:gd name="connsiteY461" fmla="*/ 1291530 h 1394444"/>
                <a:gd name="connsiteX462" fmla="*/ 636260 w 1296888"/>
                <a:gd name="connsiteY462" fmla="*/ 1287575 h 1394444"/>
                <a:gd name="connsiteX463" fmla="*/ 637409 w 1296888"/>
                <a:gd name="connsiteY463" fmla="*/ 1285917 h 1394444"/>
                <a:gd name="connsiteX464" fmla="*/ 649401 w 1296888"/>
                <a:gd name="connsiteY464" fmla="*/ 1289489 h 1394444"/>
                <a:gd name="connsiteX465" fmla="*/ 649784 w 1296888"/>
                <a:gd name="connsiteY465" fmla="*/ 1289744 h 1394444"/>
                <a:gd name="connsiteX466" fmla="*/ 673004 w 1296888"/>
                <a:gd name="connsiteY466" fmla="*/ 1301227 h 1394444"/>
                <a:gd name="connsiteX467" fmla="*/ 689590 w 1296888"/>
                <a:gd name="connsiteY467" fmla="*/ 1315388 h 1394444"/>
                <a:gd name="connsiteX468" fmla="*/ 702604 w 1296888"/>
                <a:gd name="connsiteY468" fmla="*/ 1321640 h 1394444"/>
                <a:gd name="connsiteX469" fmla="*/ 702859 w 1296888"/>
                <a:gd name="connsiteY469" fmla="*/ 1321640 h 1394444"/>
                <a:gd name="connsiteX470" fmla="*/ 707962 w 1296888"/>
                <a:gd name="connsiteY470" fmla="*/ 1321513 h 1394444"/>
                <a:gd name="connsiteX471" fmla="*/ 718807 w 1296888"/>
                <a:gd name="connsiteY471" fmla="*/ 1322533 h 1394444"/>
                <a:gd name="connsiteX472" fmla="*/ 721741 w 1296888"/>
                <a:gd name="connsiteY472" fmla="*/ 1306968 h 1394444"/>
                <a:gd name="connsiteX473" fmla="*/ 720848 w 1296888"/>
                <a:gd name="connsiteY473" fmla="*/ 1305054 h 1394444"/>
                <a:gd name="connsiteX474" fmla="*/ 718679 w 1296888"/>
                <a:gd name="connsiteY474" fmla="*/ 1299696 h 1394444"/>
                <a:gd name="connsiteX475" fmla="*/ 698521 w 1296888"/>
                <a:gd name="connsiteY475" fmla="*/ 1277368 h 1394444"/>
                <a:gd name="connsiteX476" fmla="*/ 684232 w 1296888"/>
                <a:gd name="connsiteY476" fmla="*/ 1268310 h 1394444"/>
                <a:gd name="connsiteX477" fmla="*/ 674025 w 1296888"/>
                <a:gd name="connsiteY477" fmla="*/ 1261293 h 1394444"/>
                <a:gd name="connsiteX478" fmla="*/ 664967 w 1296888"/>
                <a:gd name="connsiteY478" fmla="*/ 1250831 h 1394444"/>
                <a:gd name="connsiteX479" fmla="*/ 661012 w 1296888"/>
                <a:gd name="connsiteY479" fmla="*/ 1244835 h 1394444"/>
                <a:gd name="connsiteX480" fmla="*/ 659736 w 1296888"/>
                <a:gd name="connsiteY480" fmla="*/ 1240369 h 1394444"/>
                <a:gd name="connsiteX481" fmla="*/ 665349 w 1296888"/>
                <a:gd name="connsiteY481" fmla="*/ 1237307 h 1394444"/>
                <a:gd name="connsiteX482" fmla="*/ 678746 w 1296888"/>
                <a:gd name="connsiteY482" fmla="*/ 1242028 h 1394444"/>
                <a:gd name="connsiteX483" fmla="*/ 682828 w 1296888"/>
                <a:gd name="connsiteY483" fmla="*/ 1244707 h 1394444"/>
                <a:gd name="connsiteX484" fmla="*/ 695332 w 1296888"/>
                <a:gd name="connsiteY484" fmla="*/ 1254786 h 1394444"/>
                <a:gd name="connsiteX485" fmla="*/ 712173 w 1296888"/>
                <a:gd name="connsiteY485" fmla="*/ 1268310 h 1394444"/>
                <a:gd name="connsiteX486" fmla="*/ 726590 w 1296888"/>
                <a:gd name="connsiteY486" fmla="*/ 1278899 h 1394444"/>
                <a:gd name="connsiteX487" fmla="*/ 731055 w 1296888"/>
                <a:gd name="connsiteY487" fmla="*/ 1283110 h 1394444"/>
                <a:gd name="connsiteX488" fmla="*/ 745217 w 1296888"/>
                <a:gd name="connsiteY488" fmla="*/ 1302630 h 1394444"/>
                <a:gd name="connsiteX489" fmla="*/ 745855 w 1296888"/>
                <a:gd name="connsiteY489" fmla="*/ 1303268 h 1394444"/>
                <a:gd name="connsiteX490" fmla="*/ 761675 w 1296888"/>
                <a:gd name="connsiteY490" fmla="*/ 1317685 h 1394444"/>
                <a:gd name="connsiteX491" fmla="*/ 768182 w 1296888"/>
                <a:gd name="connsiteY491" fmla="*/ 1323554 h 1394444"/>
                <a:gd name="connsiteX492" fmla="*/ 774944 w 1296888"/>
                <a:gd name="connsiteY492" fmla="*/ 1329423 h 1394444"/>
                <a:gd name="connsiteX493" fmla="*/ 809519 w 1296888"/>
                <a:gd name="connsiteY493" fmla="*/ 1334654 h 1394444"/>
                <a:gd name="connsiteX494" fmla="*/ 829167 w 1296888"/>
                <a:gd name="connsiteY494" fmla="*/ 1339629 h 1394444"/>
                <a:gd name="connsiteX495" fmla="*/ 842053 w 1296888"/>
                <a:gd name="connsiteY495" fmla="*/ 1344477 h 1394444"/>
                <a:gd name="connsiteX496" fmla="*/ 860170 w 1296888"/>
                <a:gd name="connsiteY496" fmla="*/ 1356215 h 1394444"/>
                <a:gd name="connsiteX497" fmla="*/ 862211 w 1296888"/>
                <a:gd name="connsiteY497" fmla="*/ 1358512 h 1394444"/>
                <a:gd name="connsiteX498" fmla="*/ 868973 w 1296888"/>
                <a:gd name="connsiteY498" fmla="*/ 1373694 h 1394444"/>
                <a:gd name="connsiteX499" fmla="*/ 870759 w 1296888"/>
                <a:gd name="connsiteY499" fmla="*/ 1380073 h 1394444"/>
                <a:gd name="connsiteX500" fmla="*/ 872035 w 1296888"/>
                <a:gd name="connsiteY500" fmla="*/ 1380073 h 1394444"/>
                <a:gd name="connsiteX501" fmla="*/ 874714 w 1296888"/>
                <a:gd name="connsiteY501" fmla="*/ 1380711 h 1394444"/>
                <a:gd name="connsiteX502" fmla="*/ 874842 w 1296888"/>
                <a:gd name="connsiteY502" fmla="*/ 1380966 h 1394444"/>
                <a:gd name="connsiteX503" fmla="*/ 881859 w 1296888"/>
                <a:gd name="connsiteY503" fmla="*/ 1384284 h 1394444"/>
                <a:gd name="connsiteX504" fmla="*/ 892959 w 1296888"/>
                <a:gd name="connsiteY504" fmla="*/ 1387091 h 1394444"/>
                <a:gd name="connsiteX505" fmla="*/ 898572 w 1296888"/>
                <a:gd name="connsiteY505" fmla="*/ 1388111 h 1394444"/>
                <a:gd name="connsiteX506" fmla="*/ 910055 w 1296888"/>
                <a:gd name="connsiteY506" fmla="*/ 1392577 h 1394444"/>
                <a:gd name="connsiteX507" fmla="*/ 915031 w 1296888"/>
                <a:gd name="connsiteY507" fmla="*/ 1393852 h 1394444"/>
                <a:gd name="connsiteX508" fmla="*/ 915414 w 1296888"/>
                <a:gd name="connsiteY508" fmla="*/ 1393980 h 1394444"/>
                <a:gd name="connsiteX509" fmla="*/ 924472 w 1296888"/>
                <a:gd name="connsiteY509" fmla="*/ 1383008 h 1394444"/>
                <a:gd name="connsiteX510" fmla="*/ 948713 w 1296888"/>
                <a:gd name="connsiteY510" fmla="*/ 1383008 h 1394444"/>
                <a:gd name="connsiteX511" fmla="*/ 991581 w 1296888"/>
                <a:gd name="connsiteY511" fmla="*/ 1366932 h 1394444"/>
                <a:gd name="connsiteX512" fmla="*/ 1007401 w 1296888"/>
                <a:gd name="connsiteY512" fmla="*/ 1343584 h 1394444"/>
                <a:gd name="connsiteX513" fmla="*/ 1064942 w 1296888"/>
                <a:gd name="connsiteY513" fmla="*/ 1352515 h 1394444"/>
                <a:gd name="connsiteX514" fmla="*/ 1074000 w 1296888"/>
                <a:gd name="connsiteY514" fmla="*/ 1335292 h 1394444"/>
                <a:gd name="connsiteX515" fmla="*/ 1095945 w 1296888"/>
                <a:gd name="connsiteY515" fmla="*/ 1340267 h 1394444"/>
                <a:gd name="connsiteX516" fmla="*/ 1112275 w 1296888"/>
                <a:gd name="connsiteY516" fmla="*/ 1360298 h 1394444"/>
                <a:gd name="connsiteX517" fmla="*/ 1142130 w 1296888"/>
                <a:gd name="connsiteY517" fmla="*/ 1326361 h 1394444"/>
                <a:gd name="connsiteX518" fmla="*/ 1130265 w 1296888"/>
                <a:gd name="connsiteY518" fmla="*/ 1287958 h 1394444"/>
                <a:gd name="connsiteX519" fmla="*/ 1111127 w 1296888"/>
                <a:gd name="connsiteY519" fmla="*/ 1267417 h 1394444"/>
                <a:gd name="connsiteX520" fmla="*/ 1136516 w 1296888"/>
                <a:gd name="connsiteY520" fmla="*/ 1249683 h 1394444"/>
                <a:gd name="connsiteX521" fmla="*/ 1120186 w 1296888"/>
                <a:gd name="connsiteY521" fmla="*/ 1222507 h 1394444"/>
                <a:gd name="connsiteX522" fmla="*/ 1131413 w 1296888"/>
                <a:gd name="connsiteY522" fmla="*/ 1208091 h 1394444"/>
                <a:gd name="connsiteX523" fmla="*/ 1131413 w 1296888"/>
                <a:gd name="connsiteY523" fmla="*/ 1177470 h 1394444"/>
                <a:gd name="connsiteX524" fmla="*/ 1120186 w 1296888"/>
                <a:gd name="connsiteY524" fmla="*/ 1165733 h 1394444"/>
                <a:gd name="connsiteX525" fmla="*/ 1136516 w 1296888"/>
                <a:gd name="connsiteY525" fmla="*/ 1143533 h 1394444"/>
                <a:gd name="connsiteX526" fmla="*/ 1133709 w 1296888"/>
                <a:gd name="connsiteY526" fmla="*/ 1117378 h 1394444"/>
                <a:gd name="connsiteX527" fmla="*/ 1152337 w 1296888"/>
                <a:gd name="connsiteY527" fmla="*/ 1092372 h 1394444"/>
                <a:gd name="connsiteX528" fmla="*/ 1137665 w 1296888"/>
                <a:gd name="connsiteY528" fmla="*/ 1086758 h 1394444"/>
                <a:gd name="connsiteX529" fmla="*/ 1150040 w 1296888"/>
                <a:gd name="connsiteY529" fmla="*/ 1070045 h 1394444"/>
                <a:gd name="connsiteX530" fmla="*/ 1120186 w 1296888"/>
                <a:gd name="connsiteY530" fmla="*/ 1001150 h 1394444"/>
                <a:gd name="connsiteX531" fmla="*/ 1102707 w 1296888"/>
                <a:gd name="connsiteY531" fmla="*/ 927789 h 1394444"/>
                <a:gd name="connsiteX532" fmla="*/ 1084590 w 1296888"/>
                <a:gd name="connsiteY532" fmla="*/ 911713 h 1394444"/>
                <a:gd name="connsiteX533" fmla="*/ 1084590 w 1296888"/>
                <a:gd name="connsiteY533" fmla="*/ 887855 h 1394444"/>
                <a:gd name="connsiteX534" fmla="*/ 1103727 w 1296888"/>
                <a:gd name="connsiteY534" fmla="*/ 863359 h 1394444"/>
                <a:gd name="connsiteX535" fmla="*/ 1098114 w 1296888"/>
                <a:gd name="connsiteY535" fmla="*/ 842818 h 1394444"/>
                <a:gd name="connsiteX536" fmla="*/ 1129116 w 1296888"/>
                <a:gd name="connsiteY536" fmla="*/ 840649 h 1394444"/>
                <a:gd name="connsiteX537" fmla="*/ 1148892 w 1296888"/>
                <a:gd name="connsiteY537" fmla="*/ 849580 h 1394444"/>
                <a:gd name="connsiteX538" fmla="*/ 1157950 w 1296888"/>
                <a:gd name="connsiteY538" fmla="*/ 843966 h 1394444"/>
                <a:gd name="connsiteX539" fmla="*/ 1163564 w 1296888"/>
                <a:gd name="connsiteY539" fmla="*/ 831718 h 1394444"/>
                <a:gd name="connsiteX540" fmla="*/ 1185508 w 1296888"/>
                <a:gd name="connsiteY540" fmla="*/ 822277 h 1394444"/>
                <a:gd name="connsiteX541" fmla="*/ 1182064 w 1296888"/>
                <a:gd name="connsiteY541" fmla="*/ 810029 h 1394444"/>
                <a:gd name="connsiteX542" fmla="*/ 1198394 w 1296888"/>
                <a:gd name="connsiteY542" fmla="*/ 805564 h 1394444"/>
                <a:gd name="connsiteX543" fmla="*/ 1217532 w 1296888"/>
                <a:gd name="connsiteY543" fmla="*/ 797781 h 1394444"/>
                <a:gd name="connsiteX544" fmla="*/ 1219828 w 1296888"/>
                <a:gd name="connsiteY544" fmla="*/ 758358 h 1394444"/>
                <a:gd name="connsiteX545" fmla="*/ 1228249 w 1296888"/>
                <a:gd name="connsiteY545" fmla="*/ 745599 h 1394444"/>
                <a:gd name="connsiteX546" fmla="*/ 1199415 w 1296888"/>
                <a:gd name="connsiteY546" fmla="*/ 727865 h 1394444"/>
                <a:gd name="connsiteX547" fmla="*/ 1195970 w 1296888"/>
                <a:gd name="connsiteY547" fmla="*/ 708473 h 1394444"/>
                <a:gd name="connsiteX548" fmla="*/ 1211791 w 1296888"/>
                <a:gd name="connsiteY548" fmla="*/ 694056 h 1394444"/>
                <a:gd name="connsiteX549" fmla="*/ 1242794 w 1296888"/>
                <a:gd name="connsiteY549" fmla="*/ 714086 h 1394444"/>
                <a:gd name="connsiteX550" fmla="*/ 1255169 w 1296888"/>
                <a:gd name="connsiteY550" fmla="*/ 708473 h 1394444"/>
                <a:gd name="connsiteX551" fmla="*/ 1259124 w 1296888"/>
                <a:gd name="connsiteY551" fmla="*/ 695076 h 1394444"/>
                <a:gd name="connsiteX552" fmla="*/ 1269331 w 1296888"/>
                <a:gd name="connsiteY552" fmla="*/ 698393 h 1394444"/>
                <a:gd name="connsiteX553" fmla="*/ 1265886 w 1296888"/>
                <a:gd name="connsiteY553" fmla="*/ 724548 h 1394444"/>
                <a:gd name="connsiteX554" fmla="*/ 1296889 w 1296888"/>
                <a:gd name="connsiteY554" fmla="*/ 702859 h 1394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</a:cxnLst>
              <a:rect l="l" t="t" r="r" b="b"/>
              <a:pathLst>
                <a:path w="1296888" h="1394444">
                  <a:moveTo>
                    <a:pt x="1296889" y="702859"/>
                  </a:moveTo>
                  <a:lnTo>
                    <a:pt x="1285024" y="668922"/>
                  </a:lnTo>
                  <a:lnTo>
                    <a:pt x="1269203" y="670070"/>
                  </a:lnTo>
                  <a:lnTo>
                    <a:pt x="1266907" y="648381"/>
                  </a:lnTo>
                  <a:lnTo>
                    <a:pt x="1279283" y="645063"/>
                  </a:lnTo>
                  <a:lnTo>
                    <a:pt x="1281579" y="616740"/>
                  </a:lnTo>
                  <a:lnTo>
                    <a:pt x="1270352" y="610106"/>
                  </a:lnTo>
                  <a:cubicBezTo>
                    <a:pt x="1270352" y="610106"/>
                    <a:pt x="1285024" y="595689"/>
                    <a:pt x="1286682" y="590075"/>
                  </a:cubicBezTo>
                  <a:cubicBezTo>
                    <a:pt x="1287831" y="584461"/>
                    <a:pt x="1272521" y="563920"/>
                    <a:pt x="1272521" y="563920"/>
                  </a:cubicBezTo>
                  <a:cubicBezTo>
                    <a:pt x="1272521" y="563920"/>
                    <a:pt x="1282727" y="557286"/>
                    <a:pt x="1284896" y="550524"/>
                  </a:cubicBezTo>
                  <a:cubicBezTo>
                    <a:pt x="1287703" y="543252"/>
                    <a:pt x="1239221" y="489411"/>
                    <a:pt x="1239221" y="489411"/>
                  </a:cubicBezTo>
                  <a:lnTo>
                    <a:pt x="1206432" y="484435"/>
                  </a:lnTo>
                  <a:lnTo>
                    <a:pt x="1180533" y="437230"/>
                  </a:lnTo>
                  <a:lnTo>
                    <a:pt x="1200308" y="422813"/>
                  </a:lnTo>
                  <a:lnTo>
                    <a:pt x="1198012" y="412861"/>
                  </a:lnTo>
                  <a:lnTo>
                    <a:pt x="1151699" y="384537"/>
                  </a:lnTo>
                  <a:lnTo>
                    <a:pt x="1139323" y="337842"/>
                  </a:lnTo>
                  <a:lnTo>
                    <a:pt x="1151699" y="331207"/>
                  </a:lnTo>
                  <a:cubicBezTo>
                    <a:pt x="1151699" y="331207"/>
                    <a:pt x="1148254" y="324573"/>
                    <a:pt x="1148254" y="318959"/>
                  </a:cubicBezTo>
                  <a:cubicBezTo>
                    <a:pt x="1148254" y="313346"/>
                    <a:pt x="1152719" y="305053"/>
                    <a:pt x="1150550" y="300587"/>
                  </a:cubicBezTo>
                  <a:cubicBezTo>
                    <a:pt x="1148254" y="296122"/>
                    <a:pt x="1139323" y="296122"/>
                    <a:pt x="1135878" y="290636"/>
                  </a:cubicBezTo>
                  <a:cubicBezTo>
                    <a:pt x="1131923" y="285022"/>
                    <a:pt x="1142640" y="271243"/>
                    <a:pt x="1142640" y="271243"/>
                  </a:cubicBezTo>
                  <a:lnTo>
                    <a:pt x="1139196" y="260143"/>
                  </a:lnTo>
                  <a:cubicBezTo>
                    <a:pt x="1139196" y="260143"/>
                    <a:pt x="1157312" y="260143"/>
                    <a:pt x="1160630" y="254530"/>
                  </a:cubicBezTo>
                  <a:cubicBezTo>
                    <a:pt x="1164074" y="248916"/>
                    <a:pt x="1147106" y="232840"/>
                    <a:pt x="1144809" y="229523"/>
                  </a:cubicBezTo>
                  <a:cubicBezTo>
                    <a:pt x="1142513" y="226206"/>
                    <a:pt x="1128479" y="228375"/>
                    <a:pt x="1128479" y="228375"/>
                  </a:cubicBezTo>
                  <a:lnTo>
                    <a:pt x="1141492" y="208344"/>
                  </a:lnTo>
                  <a:lnTo>
                    <a:pt x="1138047" y="180021"/>
                  </a:lnTo>
                  <a:lnTo>
                    <a:pt x="1126182" y="180021"/>
                  </a:lnTo>
                  <a:cubicBezTo>
                    <a:pt x="1121717" y="180021"/>
                    <a:pt x="1119420" y="157183"/>
                    <a:pt x="1119420" y="157183"/>
                  </a:cubicBezTo>
                  <a:cubicBezTo>
                    <a:pt x="1119420" y="157183"/>
                    <a:pt x="1107044" y="173259"/>
                    <a:pt x="1103089" y="178872"/>
                  </a:cubicBezTo>
                  <a:cubicBezTo>
                    <a:pt x="1099645" y="184486"/>
                    <a:pt x="1101941" y="196607"/>
                    <a:pt x="1101941" y="196607"/>
                  </a:cubicBezTo>
                  <a:lnTo>
                    <a:pt x="1057414" y="196607"/>
                  </a:lnTo>
                  <a:cubicBezTo>
                    <a:pt x="1057414" y="196607"/>
                    <a:pt x="1056266" y="178872"/>
                    <a:pt x="1056266" y="163818"/>
                  </a:cubicBezTo>
                  <a:cubicBezTo>
                    <a:pt x="1056266" y="148763"/>
                    <a:pt x="1048356" y="129880"/>
                    <a:pt x="1048356" y="129880"/>
                  </a:cubicBezTo>
                  <a:cubicBezTo>
                    <a:pt x="1048356" y="129880"/>
                    <a:pt x="1040956" y="135494"/>
                    <a:pt x="1036491" y="140470"/>
                  </a:cubicBezTo>
                  <a:cubicBezTo>
                    <a:pt x="1032025" y="144935"/>
                    <a:pt x="1027432" y="153866"/>
                    <a:pt x="1027432" y="153866"/>
                  </a:cubicBezTo>
                  <a:lnTo>
                    <a:pt x="1012250" y="147232"/>
                  </a:lnTo>
                  <a:cubicBezTo>
                    <a:pt x="1012250" y="147232"/>
                    <a:pt x="1024115" y="128860"/>
                    <a:pt x="1028580" y="123374"/>
                  </a:cubicBezTo>
                  <a:cubicBezTo>
                    <a:pt x="1033046" y="117760"/>
                    <a:pt x="1040956" y="114443"/>
                    <a:pt x="1040956" y="114443"/>
                  </a:cubicBezTo>
                  <a:cubicBezTo>
                    <a:pt x="1040956" y="114443"/>
                    <a:pt x="1039808" y="108829"/>
                    <a:pt x="1036491" y="104491"/>
                  </a:cubicBezTo>
                  <a:cubicBezTo>
                    <a:pt x="1033046" y="99515"/>
                    <a:pt x="1024115" y="88416"/>
                    <a:pt x="1024115" y="88416"/>
                  </a:cubicBezTo>
                  <a:lnTo>
                    <a:pt x="1025263" y="61113"/>
                  </a:lnTo>
                  <a:lnTo>
                    <a:pt x="1010081" y="55499"/>
                  </a:lnTo>
                  <a:lnTo>
                    <a:pt x="1002171" y="45547"/>
                  </a:lnTo>
                  <a:lnTo>
                    <a:pt x="988647" y="68895"/>
                  </a:lnTo>
                  <a:lnTo>
                    <a:pt x="971168" y="42230"/>
                  </a:lnTo>
                  <a:lnTo>
                    <a:pt x="960961" y="45547"/>
                  </a:lnTo>
                  <a:lnTo>
                    <a:pt x="959813" y="65578"/>
                  </a:lnTo>
                  <a:lnTo>
                    <a:pt x="943482" y="65578"/>
                  </a:lnTo>
                  <a:cubicBezTo>
                    <a:pt x="943482" y="65578"/>
                    <a:pt x="936720" y="40061"/>
                    <a:pt x="936720" y="32789"/>
                  </a:cubicBezTo>
                  <a:cubicBezTo>
                    <a:pt x="936720" y="26155"/>
                    <a:pt x="945779" y="0"/>
                    <a:pt x="945779" y="0"/>
                  </a:cubicBezTo>
                  <a:lnTo>
                    <a:pt x="916945" y="9441"/>
                  </a:lnTo>
                  <a:lnTo>
                    <a:pt x="915796" y="38913"/>
                  </a:lnTo>
                  <a:lnTo>
                    <a:pt x="910183" y="23858"/>
                  </a:lnTo>
                  <a:cubicBezTo>
                    <a:pt x="910183" y="23858"/>
                    <a:pt x="898955" y="16076"/>
                    <a:pt x="895000" y="16076"/>
                  </a:cubicBezTo>
                  <a:cubicBezTo>
                    <a:pt x="891555" y="16076"/>
                    <a:pt x="881476" y="3828"/>
                    <a:pt x="881476" y="3828"/>
                  </a:cubicBezTo>
                  <a:lnTo>
                    <a:pt x="870249" y="14927"/>
                  </a:lnTo>
                  <a:lnTo>
                    <a:pt x="852770" y="4976"/>
                  </a:lnTo>
                  <a:cubicBezTo>
                    <a:pt x="852770" y="4976"/>
                    <a:pt x="846008" y="7145"/>
                    <a:pt x="838098" y="11610"/>
                  </a:cubicBezTo>
                  <a:cubicBezTo>
                    <a:pt x="829677" y="16076"/>
                    <a:pt x="810412" y="17224"/>
                    <a:pt x="810412" y="17224"/>
                  </a:cubicBezTo>
                  <a:lnTo>
                    <a:pt x="809264" y="37765"/>
                  </a:lnTo>
                  <a:lnTo>
                    <a:pt x="827381" y="44399"/>
                  </a:lnTo>
                  <a:lnTo>
                    <a:pt x="816153" y="54351"/>
                  </a:lnTo>
                  <a:cubicBezTo>
                    <a:pt x="816153" y="54351"/>
                    <a:pt x="825212" y="55499"/>
                    <a:pt x="830826" y="55499"/>
                  </a:cubicBezTo>
                  <a:cubicBezTo>
                    <a:pt x="837077" y="55499"/>
                    <a:pt x="844987" y="36617"/>
                    <a:pt x="844987" y="36617"/>
                  </a:cubicBezTo>
                  <a:lnTo>
                    <a:pt x="857363" y="55499"/>
                  </a:lnTo>
                  <a:cubicBezTo>
                    <a:pt x="857363" y="55499"/>
                    <a:pt x="855066" y="63282"/>
                    <a:pt x="852897" y="70554"/>
                  </a:cubicBezTo>
                  <a:cubicBezTo>
                    <a:pt x="850601" y="77188"/>
                    <a:pt x="850601" y="88288"/>
                    <a:pt x="850601" y="88288"/>
                  </a:cubicBezTo>
                  <a:lnTo>
                    <a:pt x="831974" y="97219"/>
                  </a:lnTo>
                  <a:lnTo>
                    <a:pt x="826360" y="84971"/>
                  </a:lnTo>
                  <a:lnTo>
                    <a:pt x="793061" y="90584"/>
                  </a:lnTo>
                  <a:lnTo>
                    <a:pt x="791912" y="116739"/>
                  </a:lnTo>
                  <a:lnTo>
                    <a:pt x="778389" y="124522"/>
                  </a:lnTo>
                  <a:lnTo>
                    <a:pt x="774433" y="139577"/>
                  </a:lnTo>
                  <a:lnTo>
                    <a:pt x="758613" y="139577"/>
                  </a:lnTo>
                  <a:lnTo>
                    <a:pt x="744451" y="131284"/>
                  </a:lnTo>
                  <a:lnTo>
                    <a:pt x="717404" y="135749"/>
                  </a:lnTo>
                  <a:lnTo>
                    <a:pt x="715107" y="131922"/>
                  </a:lnTo>
                  <a:lnTo>
                    <a:pt x="709493" y="141363"/>
                  </a:lnTo>
                  <a:cubicBezTo>
                    <a:pt x="709493" y="141363"/>
                    <a:pt x="729779" y="165859"/>
                    <a:pt x="723017" y="176321"/>
                  </a:cubicBezTo>
                  <a:cubicBezTo>
                    <a:pt x="716766" y="186910"/>
                    <a:pt x="704900" y="170707"/>
                    <a:pt x="704900" y="170707"/>
                  </a:cubicBezTo>
                  <a:lnTo>
                    <a:pt x="694183" y="183465"/>
                  </a:lnTo>
                  <a:lnTo>
                    <a:pt x="666498" y="171855"/>
                  </a:lnTo>
                  <a:lnTo>
                    <a:pt x="653484" y="174024"/>
                  </a:lnTo>
                  <a:lnTo>
                    <a:pt x="647232" y="190738"/>
                  </a:lnTo>
                  <a:lnTo>
                    <a:pt x="648891" y="205793"/>
                  </a:lnTo>
                  <a:lnTo>
                    <a:pt x="641619" y="216382"/>
                  </a:lnTo>
                  <a:lnTo>
                    <a:pt x="627457" y="215234"/>
                  </a:lnTo>
                  <a:cubicBezTo>
                    <a:pt x="627457" y="215234"/>
                    <a:pt x="619036" y="243557"/>
                    <a:pt x="607171" y="248023"/>
                  </a:cubicBezTo>
                  <a:cubicBezTo>
                    <a:pt x="595944" y="251850"/>
                    <a:pt x="585737" y="230799"/>
                    <a:pt x="585737" y="230799"/>
                  </a:cubicBezTo>
                  <a:lnTo>
                    <a:pt x="603216" y="219699"/>
                  </a:lnTo>
                  <a:lnTo>
                    <a:pt x="604364" y="213065"/>
                  </a:lnTo>
                  <a:lnTo>
                    <a:pt x="598751" y="197500"/>
                  </a:lnTo>
                  <a:lnTo>
                    <a:pt x="610616" y="189207"/>
                  </a:lnTo>
                  <a:cubicBezTo>
                    <a:pt x="610616" y="189207"/>
                    <a:pt x="620185" y="202603"/>
                    <a:pt x="625798" y="198648"/>
                  </a:cubicBezTo>
                  <a:cubicBezTo>
                    <a:pt x="630902" y="194182"/>
                    <a:pt x="628605" y="175300"/>
                    <a:pt x="628605" y="175300"/>
                  </a:cubicBezTo>
                  <a:lnTo>
                    <a:pt x="598751" y="169176"/>
                  </a:lnTo>
                  <a:lnTo>
                    <a:pt x="595944" y="154121"/>
                  </a:lnTo>
                  <a:lnTo>
                    <a:pt x="578465" y="169176"/>
                  </a:lnTo>
                  <a:lnTo>
                    <a:pt x="557031" y="158587"/>
                  </a:lnTo>
                  <a:cubicBezTo>
                    <a:pt x="557031" y="158587"/>
                    <a:pt x="555883" y="151952"/>
                    <a:pt x="551927" y="145828"/>
                  </a:cubicBezTo>
                  <a:cubicBezTo>
                    <a:pt x="547462" y="139704"/>
                    <a:pt x="546314" y="129115"/>
                    <a:pt x="542869" y="125798"/>
                  </a:cubicBezTo>
                  <a:cubicBezTo>
                    <a:pt x="540062" y="122480"/>
                    <a:pt x="546314" y="109084"/>
                    <a:pt x="546314" y="109084"/>
                  </a:cubicBezTo>
                  <a:lnTo>
                    <a:pt x="537893" y="97346"/>
                  </a:lnTo>
                  <a:lnTo>
                    <a:pt x="498342" y="110105"/>
                  </a:lnTo>
                  <a:cubicBezTo>
                    <a:pt x="498342" y="110105"/>
                    <a:pt x="513014" y="132942"/>
                    <a:pt x="513014" y="140725"/>
                  </a:cubicBezTo>
                  <a:cubicBezTo>
                    <a:pt x="513014" y="147997"/>
                    <a:pt x="513014" y="161266"/>
                    <a:pt x="507911" y="161266"/>
                  </a:cubicBezTo>
                  <a:cubicBezTo>
                    <a:pt x="502297" y="161266"/>
                    <a:pt x="482011" y="157438"/>
                    <a:pt x="482011" y="157438"/>
                  </a:cubicBezTo>
                  <a:cubicBezTo>
                    <a:pt x="482011" y="157438"/>
                    <a:pt x="478056" y="147997"/>
                    <a:pt x="476908" y="143532"/>
                  </a:cubicBezTo>
                  <a:cubicBezTo>
                    <a:pt x="475760" y="139704"/>
                    <a:pt x="467339" y="138556"/>
                    <a:pt x="467339" y="138556"/>
                  </a:cubicBezTo>
                  <a:lnTo>
                    <a:pt x="457771" y="114060"/>
                  </a:lnTo>
                  <a:lnTo>
                    <a:pt x="436336" y="119674"/>
                  </a:lnTo>
                  <a:lnTo>
                    <a:pt x="439143" y="134091"/>
                  </a:lnTo>
                  <a:lnTo>
                    <a:pt x="437995" y="150166"/>
                  </a:lnTo>
                  <a:lnTo>
                    <a:pt x="445905" y="183465"/>
                  </a:lnTo>
                  <a:lnTo>
                    <a:pt x="441440" y="203496"/>
                  </a:lnTo>
                  <a:lnTo>
                    <a:pt x="464022" y="210768"/>
                  </a:lnTo>
                  <a:lnTo>
                    <a:pt x="461726" y="236285"/>
                  </a:lnTo>
                  <a:cubicBezTo>
                    <a:pt x="461726" y="236285"/>
                    <a:pt x="451009" y="241261"/>
                    <a:pt x="447054" y="242409"/>
                  </a:cubicBezTo>
                  <a:cubicBezTo>
                    <a:pt x="442588" y="243557"/>
                    <a:pt x="440292" y="256316"/>
                    <a:pt x="440292" y="256316"/>
                  </a:cubicBezTo>
                  <a:lnTo>
                    <a:pt x="459429" y="254147"/>
                  </a:lnTo>
                  <a:lnTo>
                    <a:pt x="457771" y="269202"/>
                  </a:lnTo>
                  <a:lnTo>
                    <a:pt x="444757" y="281450"/>
                  </a:lnTo>
                  <a:lnTo>
                    <a:pt x="456622" y="302629"/>
                  </a:lnTo>
                  <a:lnTo>
                    <a:pt x="442460" y="318704"/>
                  </a:lnTo>
                  <a:lnTo>
                    <a:pt x="414775" y="343200"/>
                  </a:lnTo>
                  <a:lnTo>
                    <a:pt x="419240" y="350473"/>
                  </a:lnTo>
                  <a:cubicBezTo>
                    <a:pt x="419240" y="350473"/>
                    <a:pt x="408013" y="371014"/>
                    <a:pt x="405078" y="382113"/>
                  </a:cubicBezTo>
                  <a:cubicBezTo>
                    <a:pt x="402782" y="393851"/>
                    <a:pt x="389258" y="430468"/>
                    <a:pt x="389258" y="430468"/>
                  </a:cubicBezTo>
                  <a:cubicBezTo>
                    <a:pt x="389258" y="430468"/>
                    <a:pt x="375096" y="439398"/>
                    <a:pt x="372927" y="446033"/>
                  </a:cubicBezTo>
                  <a:cubicBezTo>
                    <a:pt x="370631" y="453305"/>
                    <a:pt x="370631" y="464405"/>
                    <a:pt x="367824" y="476015"/>
                  </a:cubicBezTo>
                  <a:cubicBezTo>
                    <a:pt x="366165" y="484308"/>
                    <a:pt x="350345" y="499873"/>
                    <a:pt x="341925" y="506635"/>
                  </a:cubicBezTo>
                  <a:lnTo>
                    <a:pt x="336821" y="506125"/>
                  </a:lnTo>
                  <a:lnTo>
                    <a:pt x="336821" y="506635"/>
                  </a:lnTo>
                  <a:lnTo>
                    <a:pt x="311942" y="523859"/>
                  </a:lnTo>
                  <a:lnTo>
                    <a:pt x="283746" y="577189"/>
                  </a:lnTo>
                  <a:lnTo>
                    <a:pt x="276346" y="607809"/>
                  </a:lnTo>
                  <a:lnTo>
                    <a:pt x="255423" y="610616"/>
                  </a:lnTo>
                  <a:lnTo>
                    <a:pt x="251468" y="617888"/>
                  </a:lnTo>
                  <a:cubicBezTo>
                    <a:pt x="251468" y="617888"/>
                    <a:pt x="236285" y="626819"/>
                    <a:pt x="221613" y="632305"/>
                  </a:cubicBezTo>
                  <a:cubicBezTo>
                    <a:pt x="206941" y="638429"/>
                    <a:pt x="202475" y="672877"/>
                    <a:pt x="202475" y="672877"/>
                  </a:cubicBezTo>
                  <a:lnTo>
                    <a:pt x="164073" y="691759"/>
                  </a:lnTo>
                  <a:cubicBezTo>
                    <a:pt x="164073" y="691759"/>
                    <a:pt x="162414" y="703497"/>
                    <a:pt x="159607" y="715107"/>
                  </a:cubicBezTo>
                  <a:cubicBezTo>
                    <a:pt x="156800" y="726717"/>
                    <a:pt x="143277" y="729524"/>
                    <a:pt x="143277" y="729524"/>
                  </a:cubicBezTo>
                  <a:cubicBezTo>
                    <a:pt x="143277" y="729524"/>
                    <a:pt x="147742" y="760144"/>
                    <a:pt x="144935" y="781833"/>
                  </a:cubicBezTo>
                  <a:cubicBezTo>
                    <a:pt x="142128" y="803522"/>
                    <a:pt x="106532" y="865783"/>
                    <a:pt x="107681" y="870249"/>
                  </a:cubicBezTo>
                  <a:cubicBezTo>
                    <a:pt x="108191" y="870759"/>
                    <a:pt x="108829" y="871907"/>
                    <a:pt x="108829" y="873056"/>
                  </a:cubicBezTo>
                  <a:cubicBezTo>
                    <a:pt x="112274" y="879690"/>
                    <a:pt x="119546" y="894745"/>
                    <a:pt x="119546" y="894745"/>
                  </a:cubicBezTo>
                  <a:lnTo>
                    <a:pt x="119036" y="895893"/>
                  </a:lnTo>
                  <a:lnTo>
                    <a:pt x="88543" y="919751"/>
                  </a:lnTo>
                  <a:cubicBezTo>
                    <a:pt x="88543" y="919751"/>
                    <a:pt x="84588" y="936975"/>
                    <a:pt x="81271" y="949733"/>
                  </a:cubicBezTo>
                  <a:cubicBezTo>
                    <a:pt x="78464" y="963130"/>
                    <a:pt x="49120" y="1000894"/>
                    <a:pt x="44654" y="1010846"/>
                  </a:cubicBezTo>
                  <a:cubicBezTo>
                    <a:pt x="40189" y="1020798"/>
                    <a:pt x="31641" y="1055883"/>
                    <a:pt x="38403" y="1082038"/>
                  </a:cubicBezTo>
                  <a:lnTo>
                    <a:pt x="38403" y="1083186"/>
                  </a:lnTo>
                  <a:cubicBezTo>
                    <a:pt x="45675" y="1109341"/>
                    <a:pt x="50268" y="1122609"/>
                    <a:pt x="50268" y="1122609"/>
                  </a:cubicBezTo>
                  <a:lnTo>
                    <a:pt x="50268" y="1123120"/>
                  </a:lnTo>
                  <a:cubicBezTo>
                    <a:pt x="47971" y="1127585"/>
                    <a:pt x="32151" y="1158078"/>
                    <a:pt x="26537" y="1170326"/>
                  </a:cubicBezTo>
                  <a:cubicBezTo>
                    <a:pt x="20924" y="1183084"/>
                    <a:pt x="26537" y="1190356"/>
                    <a:pt x="25389" y="1201966"/>
                  </a:cubicBezTo>
                  <a:cubicBezTo>
                    <a:pt x="23731" y="1213704"/>
                    <a:pt x="7272" y="1218042"/>
                    <a:pt x="7272" y="1235266"/>
                  </a:cubicBezTo>
                  <a:cubicBezTo>
                    <a:pt x="7272" y="1240880"/>
                    <a:pt x="8421" y="1245855"/>
                    <a:pt x="9569" y="1250321"/>
                  </a:cubicBezTo>
                  <a:cubicBezTo>
                    <a:pt x="11227" y="1257593"/>
                    <a:pt x="14034" y="1263079"/>
                    <a:pt x="14672" y="1268693"/>
                  </a:cubicBezTo>
                  <a:cubicBezTo>
                    <a:pt x="15182" y="1269841"/>
                    <a:pt x="15182" y="1271500"/>
                    <a:pt x="14672" y="1273158"/>
                  </a:cubicBezTo>
                  <a:cubicBezTo>
                    <a:pt x="13524" y="1281451"/>
                    <a:pt x="0" y="1295996"/>
                    <a:pt x="0" y="1310413"/>
                  </a:cubicBezTo>
                  <a:cubicBezTo>
                    <a:pt x="0" y="1313219"/>
                    <a:pt x="510" y="1315388"/>
                    <a:pt x="1148" y="1318195"/>
                  </a:cubicBezTo>
                  <a:cubicBezTo>
                    <a:pt x="5614" y="1331592"/>
                    <a:pt x="19265" y="1347667"/>
                    <a:pt x="25389" y="1352643"/>
                  </a:cubicBezTo>
                  <a:cubicBezTo>
                    <a:pt x="27048" y="1354301"/>
                    <a:pt x="28196" y="1356470"/>
                    <a:pt x="28196" y="1358257"/>
                  </a:cubicBezTo>
                  <a:cubicBezTo>
                    <a:pt x="29855" y="1358767"/>
                    <a:pt x="29855" y="1359405"/>
                    <a:pt x="29855" y="1359405"/>
                  </a:cubicBezTo>
                  <a:lnTo>
                    <a:pt x="34320" y="1354939"/>
                  </a:lnTo>
                  <a:cubicBezTo>
                    <a:pt x="33810" y="1349964"/>
                    <a:pt x="45037" y="1352771"/>
                    <a:pt x="43889" y="1352771"/>
                  </a:cubicBezTo>
                  <a:cubicBezTo>
                    <a:pt x="45037" y="1354939"/>
                    <a:pt x="50140" y="1354939"/>
                    <a:pt x="50140" y="1354429"/>
                  </a:cubicBezTo>
                  <a:cubicBezTo>
                    <a:pt x="50140" y="1349964"/>
                    <a:pt x="57540" y="1349964"/>
                    <a:pt x="58051" y="1349964"/>
                  </a:cubicBezTo>
                  <a:cubicBezTo>
                    <a:pt x="63154" y="1351112"/>
                    <a:pt x="59709" y="1352771"/>
                    <a:pt x="59709" y="1352771"/>
                  </a:cubicBezTo>
                  <a:cubicBezTo>
                    <a:pt x="58051" y="1352771"/>
                    <a:pt x="57413" y="1354939"/>
                    <a:pt x="57413" y="1354939"/>
                  </a:cubicBezTo>
                  <a:cubicBezTo>
                    <a:pt x="55754" y="1354939"/>
                    <a:pt x="51161" y="1358767"/>
                    <a:pt x="51161" y="1358767"/>
                  </a:cubicBezTo>
                  <a:cubicBezTo>
                    <a:pt x="48354" y="1359277"/>
                    <a:pt x="50013" y="1362084"/>
                    <a:pt x="51161" y="1362084"/>
                  </a:cubicBezTo>
                  <a:cubicBezTo>
                    <a:pt x="51671" y="1362595"/>
                    <a:pt x="51671" y="1365401"/>
                    <a:pt x="51671" y="1365401"/>
                  </a:cubicBezTo>
                  <a:cubicBezTo>
                    <a:pt x="50013" y="1366550"/>
                    <a:pt x="49375" y="1368718"/>
                    <a:pt x="49375" y="1368718"/>
                  </a:cubicBezTo>
                  <a:cubicBezTo>
                    <a:pt x="48865" y="1368718"/>
                    <a:pt x="48227" y="1370887"/>
                    <a:pt x="48227" y="1372036"/>
                  </a:cubicBezTo>
                  <a:lnTo>
                    <a:pt x="48227" y="1373184"/>
                  </a:lnTo>
                  <a:cubicBezTo>
                    <a:pt x="47716" y="1374842"/>
                    <a:pt x="41975" y="1374842"/>
                    <a:pt x="41975" y="1374842"/>
                  </a:cubicBezTo>
                  <a:cubicBezTo>
                    <a:pt x="38530" y="1374842"/>
                    <a:pt x="36872" y="1376501"/>
                    <a:pt x="36872" y="1376501"/>
                  </a:cubicBezTo>
                  <a:cubicBezTo>
                    <a:pt x="35723" y="1376501"/>
                    <a:pt x="35723" y="1377649"/>
                    <a:pt x="35213" y="1378160"/>
                  </a:cubicBezTo>
                  <a:lnTo>
                    <a:pt x="35723" y="1378160"/>
                  </a:lnTo>
                  <a:cubicBezTo>
                    <a:pt x="35213" y="1379308"/>
                    <a:pt x="35213" y="1380966"/>
                    <a:pt x="35723" y="1381987"/>
                  </a:cubicBezTo>
                  <a:cubicBezTo>
                    <a:pt x="38530" y="1383646"/>
                    <a:pt x="40189" y="1385815"/>
                    <a:pt x="40189" y="1385815"/>
                  </a:cubicBezTo>
                  <a:cubicBezTo>
                    <a:pt x="45292" y="1385815"/>
                    <a:pt x="44654" y="1390280"/>
                    <a:pt x="44654" y="1390280"/>
                  </a:cubicBezTo>
                  <a:cubicBezTo>
                    <a:pt x="44654" y="1390280"/>
                    <a:pt x="45803" y="1391428"/>
                    <a:pt x="46951" y="1391939"/>
                  </a:cubicBezTo>
                  <a:cubicBezTo>
                    <a:pt x="47461" y="1392449"/>
                    <a:pt x="48099" y="1393087"/>
                    <a:pt x="48609" y="1393597"/>
                  </a:cubicBezTo>
                  <a:lnTo>
                    <a:pt x="58816" y="1393597"/>
                  </a:lnTo>
                  <a:cubicBezTo>
                    <a:pt x="61623" y="1395766"/>
                    <a:pt x="62261" y="1393087"/>
                    <a:pt x="62771" y="1393087"/>
                  </a:cubicBezTo>
                  <a:lnTo>
                    <a:pt x="69533" y="1393087"/>
                  </a:lnTo>
                  <a:cubicBezTo>
                    <a:pt x="68385" y="1389770"/>
                    <a:pt x="71830" y="1389770"/>
                    <a:pt x="71830" y="1389770"/>
                  </a:cubicBezTo>
                  <a:lnTo>
                    <a:pt x="83057" y="1388622"/>
                  </a:lnTo>
                  <a:lnTo>
                    <a:pt x="85864" y="1388111"/>
                  </a:lnTo>
                  <a:cubicBezTo>
                    <a:pt x="84205" y="1385942"/>
                    <a:pt x="93136" y="1384284"/>
                    <a:pt x="93136" y="1384284"/>
                  </a:cubicBezTo>
                  <a:cubicBezTo>
                    <a:pt x="91988" y="1382625"/>
                    <a:pt x="99898" y="1382625"/>
                    <a:pt x="99898" y="1382625"/>
                  </a:cubicBezTo>
                  <a:cubicBezTo>
                    <a:pt x="102705" y="1382625"/>
                    <a:pt x="110615" y="1372674"/>
                    <a:pt x="110615" y="1372674"/>
                  </a:cubicBezTo>
                  <a:lnTo>
                    <a:pt x="110615" y="1369867"/>
                  </a:lnTo>
                  <a:lnTo>
                    <a:pt x="112912" y="1364253"/>
                  </a:lnTo>
                  <a:cubicBezTo>
                    <a:pt x="120822" y="1358639"/>
                    <a:pt x="121970" y="1366422"/>
                    <a:pt x="121970" y="1366422"/>
                  </a:cubicBezTo>
                  <a:cubicBezTo>
                    <a:pt x="126436" y="1368591"/>
                    <a:pt x="131029" y="1362595"/>
                    <a:pt x="131029" y="1362595"/>
                  </a:cubicBezTo>
                  <a:cubicBezTo>
                    <a:pt x="131029" y="1362595"/>
                    <a:pt x="142894" y="1362084"/>
                    <a:pt x="142894" y="1360936"/>
                  </a:cubicBezTo>
                  <a:cubicBezTo>
                    <a:pt x="146849" y="1362084"/>
                    <a:pt x="150294" y="1366550"/>
                    <a:pt x="150294" y="1366550"/>
                  </a:cubicBezTo>
                  <a:lnTo>
                    <a:pt x="150294" y="1368208"/>
                  </a:lnTo>
                  <a:cubicBezTo>
                    <a:pt x="150294" y="1368208"/>
                    <a:pt x="153738" y="1373184"/>
                    <a:pt x="153738" y="1372674"/>
                  </a:cubicBezTo>
                  <a:cubicBezTo>
                    <a:pt x="156035" y="1373184"/>
                    <a:pt x="154887" y="1377139"/>
                    <a:pt x="154887" y="1378287"/>
                  </a:cubicBezTo>
                  <a:cubicBezTo>
                    <a:pt x="153738" y="1378287"/>
                    <a:pt x="153738" y="1387218"/>
                    <a:pt x="153228" y="1387218"/>
                  </a:cubicBezTo>
                  <a:cubicBezTo>
                    <a:pt x="154887" y="1387218"/>
                    <a:pt x="156673" y="1388877"/>
                    <a:pt x="156673" y="1388877"/>
                  </a:cubicBezTo>
                  <a:cubicBezTo>
                    <a:pt x="160118" y="1388877"/>
                    <a:pt x="162924" y="1389387"/>
                    <a:pt x="164583" y="1389387"/>
                  </a:cubicBezTo>
                  <a:cubicBezTo>
                    <a:pt x="165731" y="1389387"/>
                    <a:pt x="166242" y="1389897"/>
                    <a:pt x="166242" y="1389897"/>
                  </a:cubicBezTo>
                  <a:cubicBezTo>
                    <a:pt x="166752" y="1394873"/>
                    <a:pt x="171345" y="1387091"/>
                    <a:pt x="171345" y="1387091"/>
                  </a:cubicBezTo>
                  <a:lnTo>
                    <a:pt x="175810" y="1383773"/>
                  </a:lnTo>
                  <a:cubicBezTo>
                    <a:pt x="180276" y="1382115"/>
                    <a:pt x="182572" y="1385432"/>
                    <a:pt x="182572" y="1384284"/>
                  </a:cubicBezTo>
                  <a:cubicBezTo>
                    <a:pt x="194438" y="1384284"/>
                    <a:pt x="197755" y="1387091"/>
                    <a:pt x="197755" y="1387091"/>
                  </a:cubicBezTo>
                  <a:lnTo>
                    <a:pt x="200562" y="1388239"/>
                  </a:lnTo>
                  <a:cubicBezTo>
                    <a:pt x="202220" y="1390408"/>
                    <a:pt x="204006" y="1388239"/>
                    <a:pt x="204006" y="1388239"/>
                  </a:cubicBezTo>
                  <a:lnTo>
                    <a:pt x="213575" y="1387091"/>
                  </a:lnTo>
                  <a:lnTo>
                    <a:pt x="217020" y="1380966"/>
                  </a:lnTo>
                  <a:lnTo>
                    <a:pt x="224420" y="1380966"/>
                  </a:lnTo>
                  <a:lnTo>
                    <a:pt x="228885" y="1382625"/>
                  </a:lnTo>
                  <a:lnTo>
                    <a:pt x="231182" y="1384284"/>
                  </a:lnTo>
                  <a:lnTo>
                    <a:pt x="233989" y="1384284"/>
                  </a:lnTo>
                  <a:lnTo>
                    <a:pt x="239092" y="1380966"/>
                  </a:lnTo>
                  <a:lnTo>
                    <a:pt x="239092" y="1372674"/>
                  </a:lnTo>
                  <a:cubicBezTo>
                    <a:pt x="239092" y="1371525"/>
                    <a:pt x="242537" y="1368846"/>
                    <a:pt x="242537" y="1368846"/>
                  </a:cubicBezTo>
                  <a:cubicBezTo>
                    <a:pt x="242537" y="1368846"/>
                    <a:pt x="256061" y="1368336"/>
                    <a:pt x="254912" y="1368336"/>
                  </a:cubicBezTo>
                  <a:cubicBezTo>
                    <a:pt x="254402" y="1361063"/>
                    <a:pt x="260526" y="1363870"/>
                    <a:pt x="260526" y="1362722"/>
                  </a:cubicBezTo>
                  <a:cubicBezTo>
                    <a:pt x="260526" y="1359405"/>
                    <a:pt x="264481" y="1361063"/>
                    <a:pt x="264481" y="1361063"/>
                  </a:cubicBezTo>
                  <a:cubicBezTo>
                    <a:pt x="264481" y="1363870"/>
                    <a:pt x="268436" y="1361063"/>
                    <a:pt x="268436" y="1361063"/>
                  </a:cubicBezTo>
                  <a:cubicBezTo>
                    <a:pt x="268436" y="1356598"/>
                    <a:pt x="276346" y="1356598"/>
                    <a:pt x="276346" y="1356088"/>
                  </a:cubicBezTo>
                  <a:cubicBezTo>
                    <a:pt x="276857" y="1351622"/>
                    <a:pt x="278005" y="1351112"/>
                    <a:pt x="278643" y="1349964"/>
                  </a:cubicBezTo>
                  <a:cubicBezTo>
                    <a:pt x="280939" y="1348305"/>
                    <a:pt x="282598" y="1346647"/>
                    <a:pt x="282598" y="1346647"/>
                  </a:cubicBezTo>
                  <a:cubicBezTo>
                    <a:pt x="292805" y="1345498"/>
                    <a:pt x="291019" y="1348305"/>
                    <a:pt x="291019" y="1348305"/>
                  </a:cubicBezTo>
                  <a:cubicBezTo>
                    <a:pt x="293825" y="1347157"/>
                    <a:pt x="293825" y="1354429"/>
                    <a:pt x="293825" y="1354429"/>
                  </a:cubicBezTo>
                  <a:cubicBezTo>
                    <a:pt x="295484" y="1358894"/>
                    <a:pt x="298291" y="1354429"/>
                    <a:pt x="298291" y="1354429"/>
                  </a:cubicBezTo>
                  <a:cubicBezTo>
                    <a:pt x="297143" y="1352771"/>
                    <a:pt x="301736" y="1352771"/>
                    <a:pt x="301736" y="1351622"/>
                  </a:cubicBezTo>
                  <a:lnTo>
                    <a:pt x="304032" y="1349964"/>
                  </a:lnTo>
                  <a:cubicBezTo>
                    <a:pt x="310284" y="1351112"/>
                    <a:pt x="310284" y="1352771"/>
                    <a:pt x="311304" y="1352771"/>
                  </a:cubicBezTo>
                  <a:cubicBezTo>
                    <a:pt x="312453" y="1356088"/>
                    <a:pt x="314749" y="1352771"/>
                    <a:pt x="314749" y="1352771"/>
                  </a:cubicBezTo>
                  <a:cubicBezTo>
                    <a:pt x="322021" y="1351622"/>
                    <a:pt x="324318" y="1354429"/>
                    <a:pt x="325466" y="1354429"/>
                  </a:cubicBezTo>
                  <a:cubicBezTo>
                    <a:pt x="328273" y="1354939"/>
                    <a:pt x="325466" y="1358894"/>
                    <a:pt x="325466" y="1358894"/>
                  </a:cubicBezTo>
                  <a:lnTo>
                    <a:pt x="325466" y="1366677"/>
                  </a:lnTo>
                  <a:cubicBezTo>
                    <a:pt x="325466" y="1368336"/>
                    <a:pt x="330570" y="1370632"/>
                    <a:pt x="330570" y="1370632"/>
                  </a:cubicBezTo>
                  <a:cubicBezTo>
                    <a:pt x="332228" y="1370632"/>
                    <a:pt x="333376" y="1373439"/>
                    <a:pt x="332228" y="1373439"/>
                  </a:cubicBezTo>
                  <a:lnTo>
                    <a:pt x="333376" y="1373439"/>
                  </a:lnTo>
                  <a:cubicBezTo>
                    <a:pt x="336183" y="1374587"/>
                    <a:pt x="340138" y="1379563"/>
                    <a:pt x="340138" y="1379563"/>
                  </a:cubicBezTo>
                  <a:cubicBezTo>
                    <a:pt x="355321" y="1377905"/>
                    <a:pt x="354300" y="1381222"/>
                    <a:pt x="354300" y="1381222"/>
                  </a:cubicBezTo>
                  <a:lnTo>
                    <a:pt x="361700" y="1381222"/>
                  </a:lnTo>
                  <a:cubicBezTo>
                    <a:pt x="362210" y="1387346"/>
                    <a:pt x="366165" y="1378415"/>
                    <a:pt x="366165" y="1378415"/>
                  </a:cubicBezTo>
                  <a:cubicBezTo>
                    <a:pt x="366165" y="1378415"/>
                    <a:pt x="368462" y="1375098"/>
                    <a:pt x="368462" y="1374587"/>
                  </a:cubicBezTo>
                  <a:cubicBezTo>
                    <a:pt x="371269" y="1374587"/>
                    <a:pt x="373565" y="1376756"/>
                    <a:pt x="374076" y="1376756"/>
                  </a:cubicBezTo>
                  <a:cubicBezTo>
                    <a:pt x="375734" y="1376756"/>
                    <a:pt x="376372" y="1378415"/>
                    <a:pt x="376372" y="1378415"/>
                  </a:cubicBezTo>
                  <a:lnTo>
                    <a:pt x="379179" y="1380584"/>
                  </a:lnTo>
                  <a:cubicBezTo>
                    <a:pt x="379179" y="1380584"/>
                    <a:pt x="381986" y="1381094"/>
                    <a:pt x="382624" y="1380584"/>
                  </a:cubicBezTo>
                  <a:cubicBezTo>
                    <a:pt x="385431" y="1385559"/>
                    <a:pt x="386579" y="1380584"/>
                    <a:pt x="386579" y="1380584"/>
                  </a:cubicBezTo>
                  <a:cubicBezTo>
                    <a:pt x="390024" y="1379435"/>
                    <a:pt x="394489" y="1379435"/>
                    <a:pt x="394489" y="1378415"/>
                  </a:cubicBezTo>
                  <a:cubicBezTo>
                    <a:pt x="399592" y="1379563"/>
                    <a:pt x="401761" y="1376246"/>
                    <a:pt x="401761" y="1376756"/>
                  </a:cubicBezTo>
                  <a:cubicBezTo>
                    <a:pt x="405716" y="1376756"/>
                    <a:pt x="408013" y="1376246"/>
                    <a:pt x="408013" y="1376246"/>
                  </a:cubicBezTo>
                  <a:cubicBezTo>
                    <a:pt x="415285" y="1376246"/>
                    <a:pt x="410820" y="1371781"/>
                    <a:pt x="410820" y="1370632"/>
                  </a:cubicBezTo>
                  <a:cubicBezTo>
                    <a:pt x="409671" y="1368463"/>
                    <a:pt x="404058" y="1372801"/>
                    <a:pt x="404058" y="1372801"/>
                  </a:cubicBezTo>
                  <a:lnTo>
                    <a:pt x="398444" y="1368336"/>
                  </a:lnTo>
                  <a:lnTo>
                    <a:pt x="396786" y="1362722"/>
                  </a:lnTo>
                  <a:lnTo>
                    <a:pt x="401889" y="1357746"/>
                  </a:lnTo>
                  <a:cubicBezTo>
                    <a:pt x="401889" y="1357746"/>
                    <a:pt x="406354" y="1354939"/>
                    <a:pt x="405844" y="1353281"/>
                  </a:cubicBezTo>
                  <a:cubicBezTo>
                    <a:pt x="406354" y="1351622"/>
                    <a:pt x="412096" y="1352771"/>
                    <a:pt x="412606" y="1351622"/>
                  </a:cubicBezTo>
                  <a:cubicBezTo>
                    <a:pt x="412606" y="1348815"/>
                    <a:pt x="420006" y="1349964"/>
                    <a:pt x="420006" y="1349964"/>
                  </a:cubicBezTo>
                  <a:lnTo>
                    <a:pt x="420006" y="1346647"/>
                  </a:lnTo>
                  <a:lnTo>
                    <a:pt x="427916" y="1346136"/>
                  </a:lnTo>
                  <a:lnTo>
                    <a:pt x="432381" y="1342309"/>
                  </a:lnTo>
                  <a:cubicBezTo>
                    <a:pt x="432381" y="1342309"/>
                    <a:pt x="432892" y="1343457"/>
                    <a:pt x="432892" y="1343457"/>
                  </a:cubicBezTo>
                  <a:cubicBezTo>
                    <a:pt x="436336" y="1343457"/>
                    <a:pt x="436336" y="1346774"/>
                    <a:pt x="436336" y="1345626"/>
                  </a:cubicBezTo>
                  <a:cubicBezTo>
                    <a:pt x="440802" y="1345626"/>
                    <a:pt x="442588" y="1347284"/>
                    <a:pt x="442588" y="1347284"/>
                  </a:cubicBezTo>
                  <a:cubicBezTo>
                    <a:pt x="444247" y="1350091"/>
                    <a:pt x="445395" y="1352898"/>
                    <a:pt x="445395" y="1352898"/>
                  </a:cubicBezTo>
                  <a:cubicBezTo>
                    <a:pt x="447054" y="1356215"/>
                    <a:pt x="444247" y="1358512"/>
                    <a:pt x="444247" y="1359022"/>
                  </a:cubicBezTo>
                  <a:cubicBezTo>
                    <a:pt x="444247" y="1359022"/>
                    <a:pt x="440292" y="1360681"/>
                    <a:pt x="442588" y="1362850"/>
                  </a:cubicBezTo>
                  <a:cubicBezTo>
                    <a:pt x="443736" y="1362850"/>
                    <a:pt x="447054" y="1364508"/>
                    <a:pt x="447054" y="1364508"/>
                  </a:cubicBezTo>
                  <a:lnTo>
                    <a:pt x="452157" y="1364508"/>
                  </a:lnTo>
                  <a:lnTo>
                    <a:pt x="453305" y="1366167"/>
                  </a:lnTo>
                  <a:lnTo>
                    <a:pt x="453305" y="1366677"/>
                  </a:lnTo>
                  <a:cubicBezTo>
                    <a:pt x="453815" y="1368846"/>
                    <a:pt x="456750" y="1367825"/>
                    <a:pt x="456750" y="1367825"/>
                  </a:cubicBezTo>
                  <a:cubicBezTo>
                    <a:pt x="460195" y="1366677"/>
                    <a:pt x="456750" y="1364508"/>
                    <a:pt x="456750" y="1364508"/>
                  </a:cubicBezTo>
                  <a:cubicBezTo>
                    <a:pt x="456750" y="1364508"/>
                    <a:pt x="458408" y="1362339"/>
                    <a:pt x="458408" y="1361191"/>
                  </a:cubicBezTo>
                  <a:cubicBezTo>
                    <a:pt x="458919" y="1361191"/>
                    <a:pt x="460705" y="1357874"/>
                    <a:pt x="460705" y="1356726"/>
                  </a:cubicBezTo>
                  <a:cubicBezTo>
                    <a:pt x="465170" y="1354557"/>
                    <a:pt x="461215" y="1352260"/>
                    <a:pt x="461215" y="1351112"/>
                  </a:cubicBezTo>
                  <a:cubicBezTo>
                    <a:pt x="461726" y="1348943"/>
                    <a:pt x="458919" y="1347795"/>
                    <a:pt x="458919" y="1347284"/>
                  </a:cubicBezTo>
                  <a:cubicBezTo>
                    <a:pt x="458408" y="1341160"/>
                    <a:pt x="460577" y="1339502"/>
                    <a:pt x="461215" y="1337843"/>
                  </a:cubicBezTo>
                  <a:lnTo>
                    <a:pt x="465170" y="1336695"/>
                  </a:lnTo>
                  <a:cubicBezTo>
                    <a:pt x="465170" y="1336695"/>
                    <a:pt x="464022" y="1339502"/>
                    <a:pt x="464022" y="1340012"/>
                  </a:cubicBezTo>
                  <a:lnTo>
                    <a:pt x="470274" y="1340012"/>
                  </a:lnTo>
                  <a:cubicBezTo>
                    <a:pt x="470274" y="1340012"/>
                    <a:pt x="471932" y="1337205"/>
                    <a:pt x="471932" y="1336695"/>
                  </a:cubicBezTo>
                  <a:cubicBezTo>
                    <a:pt x="473081" y="1335547"/>
                    <a:pt x="473081" y="1336185"/>
                    <a:pt x="473081" y="1335036"/>
                  </a:cubicBezTo>
                  <a:cubicBezTo>
                    <a:pt x="474739" y="1331719"/>
                    <a:pt x="471422" y="1328402"/>
                    <a:pt x="471422" y="1328402"/>
                  </a:cubicBezTo>
                  <a:cubicBezTo>
                    <a:pt x="471422" y="1328402"/>
                    <a:pt x="470274" y="1327892"/>
                    <a:pt x="466957" y="1324447"/>
                  </a:cubicBezTo>
                  <a:cubicBezTo>
                    <a:pt x="466957" y="1324447"/>
                    <a:pt x="463001" y="1321130"/>
                    <a:pt x="463512" y="1319981"/>
                  </a:cubicBezTo>
                  <a:lnTo>
                    <a:pt x="463512" y="1315516"/>
                  </a:lnTo>
                  <a:cubicBezTo>
                    <a:pt x="460705" y="1315516"/>
                    <a:pt x="458408" y="1318323"/>
                    <a:pt x="458408" y="1318323"/>
                  </a:cubicBezTo>
                  <a:cubicBezTo>
                    <a:pt x="458919" y="1319981"/>
                    <a:pt x="453943" y="1321130"/>
                    <a:pt x="453943" y="1321130"/>
                  </a:cubicBezTo>
                  <a:cubicBezTo>
                    <a:pt x="447691" y="1325595"/>
                    <a:pt x="446543" y="1319981"/>
                    <a:pt x="446543" y="1319981"/>
                  </a:cubicBezTo>
                  <a:cubicBezTo>
                    <a:pt x="443098" y="1316664"/>
                    <a:pt x="439781" y="1319471"/>
                    <a:pt x="439781" y="1319471"/>
                  </a:cubicBezTo>
                  <a:cubicBezTo>
                    <a:pt x="439781" y="1321130"/>
                    <a:pt x="433019" y="1319981"/>
                    <a:pt x="433019" y="1319981"/>
                  </a:cubicBezTo>
                  <a:lnTo>
                    <a:pt x="431361" y="1322788"/>
                  </a:lnTo>
                  <a:cubicBezTo>
                    <a:pt x="426895" y="1321130"/>
                    <a:pt x="429064" y="1329423"/>
                    <a:pt x="429064" y="1329423"/>
                  </a:cubicBezTo>
                  <a:cubicBezTo>
                    <a:pt x="433019" y="1331081"/>
                    <a:pt x="429064" y="1333250"/>
                    <a:pt x="429064" y="1332230"/>
                  </a:cubicBezTo>
                  <a:cubicBezTo>
                    <a:pt x="427406" y="1337205"/>
                    <a:pt x="425109" y="1332230"/>
                    <a:pt x="425109" y="1332230"/>
                  </a:cubicBezTo>
                  <a:lnTo>
                    <a:pt x="411585" y="1332230"/>
                  </a:lnTo>
                  <a:cubicBezTo>
                    <a:pt x="406482" y="1332230"/>
                    <a:pt x="405334" y="1331081"/>
                    <a:pt x="405334" y="1331081"/>
                  </a:cubicBezTo>
                  <a:cubicBezTo>
                    <a:pt x="403037" y="1329423"/>
                    <a:pt x="403037" y="1334909"/>
                    <a:pt x="403037" y="1333888"/>
                  </a:cubicBezTo>
                  <a:cubicBezTo>
                    <a:pt x="403037" y="1335547"/>
                    <a:pt x="400230" y="1333888"/>
                    <a:pt x="400230" y="1333378"/>
                  </a:cubicBezTo>
                  <a:cubicBezTo>
                    <a:pt x="399082" y="1329550"/>
                    <a:pt x="403037" y="1329550"/>
                    <a:pt x="403037" y="1329550"/>
                  </a:cubicBezTo>
                  <a:cubicBezTo>
                    <a:pt x="403037" y="1324574"/>
                    <a:pt x="399082" y="1327892"/>
                    <a:pt x="399082" y="1327892"/>
                  </a:cubicBezTo>
                  <a:cubicBezTo>
                    <a:pt x="398572" y="1329550"/>
                    <a:pt x="395637" y="1327892"/>
                    <a:pt x="395637" y="1327892"/>
                  </a:cubicBezTo>
                  <a:cubicBezTo>
                    <a:pt x="395637" y="1323426"/>
                    <a:pt x="392193" y="1327892"/>
                    <a:pt x="392193" y="1327892"/>
                  </a:cubicBezTo>
                  <a:lnTo>
                    <a:pt x="392193" y="1328402"/>
                  </a:lnTo>
                  <a:cubicBezTo>
                    <a:pt x="392193" y="1328402"/>
                    <a:pt x="389386" y="1326743"/>
                    <a:pt x="388748" y="1326233"/>
                  </a:cubicBezTo>
                  <a:cubicBezTo>
                    <a:pt x="388748" y="1322916"/>
                    <a:pt x="384793" y="1319599"/>
                    <a:pt x="384793" y="1319599"/>
                  </a:cubicBezTo>
                  <a:cubicBezTo>
                    <a:pt x="378031" y="1319599"/>
                    <a:pt x="376882" y="1316792"/>
                    <a:pt x="376882" y="1316792"/>
                  </a:cubicBezTo>
                  <a:cubicBezTo>
                    <a:pt x="371779" y="1312326"/>
                    <a:pt x="379179" y="1310668"/>
                    <a:pt x="379179" y="1310668"/>
                  </a:cubicBezTo>
                  <a:cubicBezTo>
                    <a:pt x="387089" y="1309009"/>
                    <a:pt x="376882" y="1302885"/>
                    <a:pt x="376882" y="1302885"/>
                  </a:cubicBezTo>
                  <a:cubicBezTo>
                    <a:pt x="371779" y="1299568"/>
                    <a:pt x="375224" y="1295613"/>
                    <a:pt x="376882" y="1295613"/>
                  </a:cubicBezTo>
                  <a:cubicBezTo>
                    <a:pt x="378031" y="1295103"/>
                    <a:pt x="382496" y="1290637"/>
                    <a:pt x="382496" y="1290637"/>
                  </a:cubicBezTo>
                  <a:cubicBezTo>
                    <a:pt x="383006" y="1288979"/>
                    <a:pt x="388748" y="1287320"/>
                    <a:pt x="387600" y="1287320"/>
                  </a:cubicBezTo>
                  <a:cubicBezTo>
                    <a:pt x="388748" y="1285662"/>
                    <a:pt x="392065" y="1285662"/>
                    <a:pt x="392065" y="1285662"/>
                  </a:cubicBezTo>
                  <a:cubicBezTo>
                    <a:pt x="393724" y="1282855"/>
                    <a:pt x="397168" y="1282855"/>
                    <a:pt x="397168" y="1282855"/>
                  </a:cubicBezTo>
                  <a:cubicBezTo>
                    <a:pt x="398827" y="1279537"/>
                    <a:pt x="395510" y="1276220"/>
                    <a:pt x="396658" y="1276220"/>
                  </a:cubicBezTo>
                  <a:cubicBezTo>
                    <a:pt x="394999" y="1272393"/>
                    <a:pt x="398317" y="1271755"/>
                    <a:pt x="398317" y="1270607"/>
                  </a:cubicBezTo>
                  <a:cubicBezTo>
                    <a:pt x="396658" y="1263972"/>
                    <a:pt x="402782" y="1265631"/>
                    <a:pt x="402782" y="1264483"/>
                  </a:cubicBezTo>
                  <a:cubicBezTo>
                    <a:pt x="405078" y="1262314"/>
                    <a:pt x="403292" y="1258358"/>
                    <a:pt x="403292" y="1258358"/>
                  </a:cubicBezTo>
                  <a:lnTo>
                    <a:pt x="410565" y="1252234"/>
                  </a:lnTo>
                  <a:cubicBezTo>
                    <a:pt x="412861" y="1248917"/>
                    <a:pt x="414009" y="1252234"/>
                    <a:pt x="414009" y="1251724"/>
                  </a:cubicBezTo>
                  <a:cubicBezTo>
                    <a:pt x="414009" y="1253383"/>
                    <a:pt x="416816" y="1252234"/>
                    <a:pt x="416816" y="1252234"/>
                  </a:cubicBezTo>
                  <a:cubicBezTo>
                    <a:pt x="416816" y="1250576"/>
                    <a:pt x="418475" y="1250066"/>
                    <a:pt x="418475" y="1250066"/>
                  </a:cubicBezTo>
                  <a:cubicBezTo>
                    <a:pt x="418985" y="1250576"/>
                    <a:pt x="424726" y="1250576"/>
                    <a:pt x="424726" y="1250576"/>
                  </a:cubicBezTo>
                  <a:cubicBezTo>
                    <a:pt x="424726" y="1253383"/>
                    <a:pt x="427023" y="1252234"/>
                    <a:pt x="427023" y="1252234"/>
                  </a:cubicBezTo>
                  <a:cubicBezTo>
                    <a:pt x="428171" y="1250066"/>
                    <a:pt x="431488" y="1248917"/>
                    <a:pt x="431488" y="1248917"/>
                  </a:cubicBezTo>
                  <a:cubicBezTo>
                    <a:pt x="430978" y="1246110"/>
                    <a:pt x="436592" y="1246110"/>
                    <a:pt x="436592" y="1246110"/>
                  </a:cubicBezTo>
                  <a:cubicBezTo>
                    <a:pt x="436592" y="1243942"/>
                    <a:pt x="442843" y="1244452"/>
                    <a:pt x="442843" y="1244452"/>
                  </a:cubicBezTo>
                  <a:cubicBezTo>
                    <a:pt x="446288" y="1244452"/>
                    <a:pt x="446288" y="1248917"/>
                    <a:pt x="446288" y="1248279"/>
                  </a:cubicBezTo>
                  <a:cubicBezTo>
                    <a:pt x="448585" y="1248790"/>
                    <a:pt x="450243" y="1246110"/>
                    <a:pt x="450243" y="1246110"/>
                  </a:cubicBezTo>
                  <a:cubicBezTo>
                    <a:pt x="455346" y="1248917"/>
                    <a:pt x="450243" y="1240497"/>
                    <a:pt x="450243" y="1240497"/>
                  </a:cubicBezTo>
                  <a:cubicBezTo>
                    <a:pt x="445778" y="1241007"/>
                    <a:pt x="445778" y="1234883"/>
                    <a:pt x="445778" y="1234373"/>
                  </a:cubicBezTo>
                  <a:cubicBezTo>
                    <a:pt x="445778" y="1228759"/>
                    <a:pt x="448585" y="1231056"/>
                    <a:pt x="448585" y="1231056"/>
                  </a:cubicBezTo>
                  <a:cubicBezTo>
                    <a:pt x="451391" y="1232714"/>
                    <a:pt x="452029" y="1233225"/>
                    <a:pt x="452029" y="1233225"/>
                  </a:cubicBezTo>
                  <a:lnTo>
                    <a:pt x="454836" y="1233225"/>
                  </a:lnTo>
                  <a:cubicBezTo>
                    <a:pt x="456495" y="1230418"/>
                    <a:pt x="458281" y="1233225"/>
                    <a:pt x="457133" y="1233225"/>
                  </a:cubicBezTo>
                  <a:cubicBezTo>
                    <a:pt x="457133" y="1239349"/>
                    <a:pt x="459940" y="1234373"/>
                    <a:pt x="459940" y="1234373"/>
                  </a:cubicBezTo>
                  <a:cubicBezTo>
                    <a:pt x="463384" y="1230545"/>
                    <a:pt x="464405" y="1233225"/>
                    <a:pt x="464405" y="1233225"/>
                  </a:cubicBezTo>
                  <a:cubicBezTo>
                    <a:pt x="473974" y="1232714"/>
                    <a:pt x="470657" y="1236031"/>
                    <a:pt x="470657" y="1236031"/>
                  </a:cubicBezTo>
                  <a:cubicBezTo>
                    <a:pt x="466701" y="1239349"/>
                    <a:pt x="470657" y="1239349"/>
                    <a:pt x="470657" y="1239349"/>
                  </a:cubicBezTo>
                  <a:cubicBezTo>
                    <a:pt x="472315" y="1242666"/>
                    <a:pt x="469508" y="1244324"/>
                    <a:pt x="469508" y="1244324"/>
                  </a:cubicBezTo>
                  <a:cubicBezTo>
                    <a:pt x="467850" y="1244324"/>
                    <a:pt x="469508" y="1248790"/>
                    <a:pt x="469508" y="1248790"/>
                  </a:cubicBezTo>
                  <a:cubicBezTo>
                    <a:pt x="471805" y="1248279"/>
                    <a:pt x="471805" y="1249938"/>
                    <a:pt x="471167" y="1252107"/>
                  </a:cubicBezTo>
                  <a:cubicBezTo>
                    <a:pt x="471167" y="1253766"/>
                    <a:pt x="470657" y="1256572"/>
                    <a:pt x="470657" y="1256572"/>
                  </a:cubicBezTo>
                  <a:cubicBezTo>
                    <a:pt x="474101" y="1256062"/>
                    <a:pt x="474101" y="1260528"/>
                    <a:pt x="474101" y="1260528"/>
                  </a:cubicBezTo>
                  <a:cubicBezTo>
                    <a:pt x="474101" y="1265503"/>
                    <a:pt x="477546" y="1261038"/>
                    <a:pt x="477546" y="1260528"/>
                  </a:cubicBezTo>
                  <a:cubicBezTo>
                    <a:pt x="476398" y="1256062"/>
                    <a:pt x="480353" y="1256572"/>
                    <a:pt x="480353" y="1256572"/>
                  </a:cubicBezTo>
                  <a:cubicBezTo>
                    <a:pt x="482011" y="1261038"/>
                    <a:pt x="480863" y="1256062"/>
                    <a:pt x="483798" y="1256572"/>
                  </a:cubicBezTo>
                  <a:cubicBezTo>
                    <a:pt x="483798" y="1257083"/>
                    <a:pt x="484308" y="1256572"/>
                    <a:pt x="484308" y="1256572"/>
                  </a:cubicBezTo>
                  <a:cubicBezTo>
                    <a:pt x="484818" y="1256062"/>
                    <a:pt x="483798" y="1253255"/>
                    <a:pt x="483798" y="1253255"/>
                  </a:cubicBezTo>
                  <a:cubicBezTo>
                    <a:pt x="488263" y="1253255"/>
                    <a:pt x="483798" y="1250448"/>
                    <a:pt x="483798" y="1250448"/>
                  </a:cubicBezTo>
                  <a:lnTo>
                    <a:pt x="483798" y="1242666"/>
                  </a:lnTo>
                  <a:cubicBezTo>
                    <a:pt x="479332" y="1242155"/>
                    <a:pt x="483798" y="1240497"/>
                    <a:pt x="483798" y="1240497"/>
                  </a:cubicBezTo>
                  <a:lnTo>
                    <a:pt x="483798" y="1236031"/>
                  </a:lnTo>
                  <a:cubicBezTo>
                    <a:pt x="485456" y="1231566"/>
                    <a:pt x="488263" y="1236031"/>
                    <a:pt x="488263" y="1236031"/>
                  </a:cubicBezTo>
                  <a:cubicBezTo>
                    <a:pt x="490560" y="1236542"/>
                    <a:pt x="489922" y="1239349"/>
                    <a:pt x="489922" y="1239349"/>
                  </a:cubicBezTo>
                  <a:cubicBezTo>
                    <a:pt x="483670" y="1239349"/>
                    <a:pt x="490432" y="1242155"/>
                    <a:pt x="490432" y="1242155"/>
                  </a:cubicBezTo>
                  <a:cubicBezTo>
                    <a:pt x="493239" y="1242155"/>
                    <a:pt x="494387" y="1243814"/>
                    <a:pt x="494387" y="1243814"/>
                  </a:cubicBezTo>
                  <a:cubicBezTo>
                    <a:pt x="499490" y="1242666"/>
                    <a:pt x="498342" y="1249938"/>
                    <a:pt x="497832" y="1249938"/>
                  </a:cubicBezTo>
                  <a:cubicBezTo>
                    <a:pt x="500639" y="1249938"/>
                    <a:pt x="501277" y="1253255"/>
                    <a:pt x="500639" y="1252107"/>
                  </a:cubicBezTo>
                  <a:cubicBezTo>
                    <a:pt x="496684" y="1253766"/>
                    <a:pt x="500639" y="1255935"/>
                    <a:pt x="500639" y="1255935"/>
                  </a:cubicBezTo>
                  <a:lnTo>
                    <a:pt x="500639" y="1262569"/>
                  </a:lnTo>
                  <a:cubicBezTo>
                    <a:pt x="504083" y="1262569"/>
                    <a:pt x="504594" y="1264227"/>
                    <a:pt x="504594" y="1263717"/>
                  </a:cubicBezTo>
                  <a:cubicBezTo>
                    <a:pt x="504594" y="1259252"/>
                    <a:pt x="507401" y="1259252"/>
                    <a:pt x="508039" y="1259252"/>
                  </a:cubicBezTo>
                  <a:cubicBezTo>
                    <a:pt x="515949" y="1257593"/>
                    <a:pt x="518245" y="1259252"/>
                    <a:pt x="518245" y="1259252"/>
                  </a:cubicBezTo>
                  <a:cubicBezTo>
                    <a:pt x="518245" y="1259252"/>
                    <a:pt x="520542" y="1263717"/>
                    <a:pt x="520542" y="1264227"/>
                  </a:cubicBezTo>
                  <a:cubicBezTo>
                    <a:pt x="521307" y="1264993"/>
                    <a:pt x="522073" y="1265376"/>
                    <a:pt x="522838" y="1265376"/>
                  </a:cubicBezTo>
                  <a:cubicBezTo>
                    <a:pt x="525135" y="1265376"/>
                    <a:pt x="523349" y="1270351"/>
                    <a:pt x="523349" y="1270351"/>
                  </a:cubicBezTo>
                  <a:cubicBezTo>
                    <a:pt x="521690" y="1272010"/>
                    <a:pt x="518245" y="1271500"/>
                    <a:pt x="518245" y="1270351"/>
                  </a:cubicBezTo>
                  <a:cubicBezTo>
                    <a:pt x="516587" y="1271500"/>
                    <a:pt x="515438" y="1271500"/>
                    <a:pt x="515438" y="1272010"/>
                  </a:cubicBezTo>
                  <a:lnTo>
                    <a:pt x="514928" y="1272010"/>
                  </a:lnTo>
                  <a:lnTo>
                    <a:pt x="514928" y="1273669"/>
                  </a:lnTo>
                  <a:cubicBezTo>
                    <a:pt x="510463" y="1273669"/>
                    <a:pt x="513780" y="1277496"/>
                    <a:pt x="513780" y="1277496"/>
                  </a:cubicBezTo>
                  <a:cubicBezTo>
                    <a:pt x="513780" y="1277496"/>
                    <a:pt x="512121" y="1278006"/>
                    <a:pt x="510335" y="1279665"/>
                  </a:cubicBezTo>
                  <a:cubicBezTo>
                    <a:pt x="510335" y="1281324"/>
                    <a:pt x="507528" y="1282472"/>
                    <a:pt x="507528" y="1282472"/>
                  </a:cubicBezTo>
                  <a:cubicBezTo>
                    <a:pt x="507528" y="1285279"/>
                    <a:pt x="505870" y="1288596"/>
                    <a:pt x="505870" y="1288596"/>
                  </a:cubicBezTo>
                  <a:cubicBezTo>
                    <a:pt x="507018" y="1291403"/>
                    <a:pt x="501404" y="1291913"/>
                    <a:pt x="501404" y="1291913"/>
                  </a:cubicBezTo>
                  <a:cubicBezTo>
                    <a:pt x="501404" y="1295230"/>
                    <a:pt x="496301" y="1293572"/>
                    <a:pt x="496301" y="1293572"/>
                  </a:cubicBezTo>
                  <a:cubicBezTo>
                    <a:pt x="494642" y="1293572"/>
                    <a:pt x="494642" y="1295741"/>
                    <a:pt x="494642" y="1295741"/>
                  </a:cubicBezTo>
                  <a:lnTo>
                    <a:pt x="494642" y="1302375"/>
                  </a:lnTo>
                  <a:cubicBezTo>
                    <a:pt x="494642" y="1305182"/>
                    <a:pt x="488391" y="1304033"/>
                    <a:pt x="488391" y="1304033"/>
                  </a:cubicBezTo>
                  <a:cubicBezTo>
                    <a:pt x="488391" y="1304799"/>
                    <a:pt x="488008" y="1305182"/>
                    <a:pt x="487242" y="1305182"/>
                  </a:cubicBezTo>
                  <a:cubicBezTo>
                    <a:pt x="487242" y="1305182"/>
                    <a:pt x="488391" y="1306840"/>
                    <a:pt x="488391" y="1306840"/>
                  </a:cubicBezTo>
                  <a:cubicBezTo>
                    <a:pt x="488391" y="1307351"/>
                    <a:pt x="490687" y="1307351"/>
                    <a:pt x="491835" y="1308499"/>
                  </a:cubicBezTo>
                  <a:cubicBezTo>
                    <a:pt x="493494" y="1309009"/>
                    <a:pt x="495280" y="1307989"/>
                    <a:pt x="495280" y="1307989"/>
                  </a:cubicBezTo>
                  <a:lnTo>
                    <a:pt x="496939" y="1306840"/>
                  </a:lnTo>
                  <a:lnTo>
                    <a:pt x="498087" y="1305692"/>
                  </a:lnTo>
                  <a:cubicBezTo>
                    <a:pt x="500894" y="1299058"/>
                    <a:pt x="500384" y="1305182"/>
                    <a:pt x="500384" y="1305182"/>
                  </a:cubicBezTo>
                  <a:cubicBezTo>
                    <a:pt x="500894" y="1304033"/>
                    <a:pt x="502042" y="1303523"/>
                    <a:pt x="503190" y="1304033"/>
                  </a:cubicBezTo>
                  <a:lnTo>
                    <a:pt x="504339" y="1304033"/>
                  </a:lnTo>
                  <a:cubicBezTo>
                    <a:pt x="504339" y="1304033"/>
                    <a:pt x="504849" y="1304544"/>
                    <a:pt x="505487" y="1304544"/>
                  </a:cubicBezTo>
                  <a:lnTo>
                    <a:pt x="505997" y="1304544"/>
                  </a:lnTo>
                  <a:lnTo>
                    <a:pt x="506508" y="1305054"/>
                  </a:lnTo>
                  <a:cubicBezTo>
                    <a:pt x="506508" y="1305054"/>
                    <a:pt x="508166" y="1306202"/>
                    <a:pt x="508804" y="1306202"/>
                  </a:cubicBezTo>
                  <a:cubicBezTo>
                    <a:pt x="510463" y="1306713"/>
                    <a:pt x="512249" y="1305054"/>
                    <a:pt x="512759" y="1305054"/>
                  </a:cubicBezTo>
                  <a:cubicBezTo>
                    <a:pt x="513270" y="1305054"/>
                    <a:pt x="515566" y="1305054"/>
                    <a:pt x="517225" y="1303906"/>
                  </a:cubicBezTo>
                  <a:cubicBezTo>
                    <a:pt x="518883" y="1303906"/>
                    <a:pt x="519521" y="1305565"/>
                    <a:pt x="519521" y="1305565"/>
                  </a:cubicBezTo>
                  <a:lnTo>
                    <a:pt x="522328" y="1305565"/>
                  </a:lnTo>
                  <a:cubicBezTo>
                    <a:pt x="522328" y="1305565"/>
                    <a:pt x="522838" y="1306075"/>
                    <a:pt x="522838" y="1306075"/>
                  </a:cubicBezTo>
                  <a:lnTo>
                    <a:pt x="525135" y="1306075"/>
                  </a:lnTo>
                  <a:cubicBezTo>
                    <a:pt x="525135" y="1306075"/>
                    <a:pt x="526283" y="1306585"/>
                    <a:pt x="526283" y="1306585"/>
                  </a:cubicBezTo>
                  <a:lnTo>
                    <a:pt x="527942" y="1306585"/>
                  </a:lnTo>
                  <a:cubicBezTo>
                    <a:pt x="529600" y="1307096"/>
                    <a:pt x="530749" y="1307733"/>
                    <a:pt x="531897" y="1308244"/>
                  </a:cubicBezTo>
                  <a:lnTo>
                    <a:pt x="533045" y="1308244"/>
                  </a:lnTo>
                  <a:cubicBezTo>
                    <a:pt x="533045" y="1308244"/>
                    <a:pt x="533555" y="1311051"/>
                    <a:pt x="534704" y="1311051"/>
                  </a:cubicBezTo>
                  <a:cubicBezTo>
                    <a:pt x="535852" y="1311051"/>
                    <a:pt x="535852" y="1312709"/>
                    <a:pt x="537510" y="1312709"/>
                  </a:cubicBezTo>
                  <a:cubicBezTo>
                    <a:pt x="538021" y="1313219"/>
                    <a:pt x="541466" y="1314878"/>
                    <a:pt x="541466" y="1314878"/>
                  </a:cubicBezTo>
                  <a:cubicBezTo>
                    <a:pt x="543762" y="1317047"/>
                    <a:pt x="545421" y="1314878"/>
                    <a:pt x="546569" y="1314878"/>
                  </a:cubicBezTo>
                  <a:lnTo>
                    <a:pt x="546569" y="1314368"/>
                  </a:lnTo>
                  <a:lnTo>
                    <a:pt x="547079" y="1314368"/>
                  </a:lnTo>
                  <a:cubicBezTo>
                    <a:pt x="546569" y="1309392"/>
                    <a:pt x="548738" y="1311051"/>
                    <a:pt x="548738" y="1309902"/>
                  </a:cubicBezTo>
                  <a:cubicBezTo>
                    <a:pt x="548738" y="1308244"/>
                    <a:pt x="549886" y="1306585"/>
                    <a:pt x="549886" y="1305437"/>
                  </a:cubicBezTo>
                  <a:cubicBezTo>
                    <a:pt x="557796" y="1305437"/>
                    <a:pt x="548227" y="1302120"/>
                    <a:pt x="548738" y="1302120"/>
                  </a:cubicBezTo>
                  <a:cubicBezTo>
                    <a:pt x="548227" y="1300972"/>
                    <a:pt x="547079" y="1297654"/>
                    <a:pt x="547079" y="1297654"/>
                  </a:cubicBezTo>
                  <a:cubicBezTo>
                    <a:pt x="535852" y="1297654"/>
                    <a:pt x="536873" y="1294847"/>
                    <a:pt x="536873" y="1294847"/>
                  </a:cubicBezTo>
                  <a:lnTo>
                    <a:pt x="536873" y="1288213"/>
                  </a:lnTo>
                  <a:cubicBezTo>
                    <a:pt x="537383" y="1287065"/>
                    <a:pt x="541976" y="1285406"/>
                    <a:pt x="541976" y="1284896"/>
                  </a:cubicBezTo>
                  <a:cubicBezTo>
                    <a:pt x="541976" y="1283237"/>
                    <a:pt x="548227" y="1283748"/>
                    <a:pt x="548227" y="1283237"/>
                  </a:cubicBezTo>
                  <a:cubicBezTo>
                    <a:pt x="548227" y="1277113"/>
                    <a:pt x="551034" y="1276603"/>
                    <a:pt x="551034" y="1275455"/>
                  </a:cubicBezTo>
                  <a:cubicBezTo>
                    <a:pt x="553841" y="1276603"/>
                    <a:pt x="554479" y="1284386"/>
                    <a:pt x="554479" y="1284386"/>
                  </a:cubicBezTo>
                  <a:cubicBezTo>
                    <a:pt x="555627" y="1284896"/>
                    <a:pt x="557924" y="1288851"/>
                    <a:pt x="557924" y="1288851"/>
                  </a:cubicBezTo>
                  <a:cubicBezTo>
                    <a:pt x="554479" y="1293827"/>
                    <a:pt x="563538" y="1293316"/>
                    <a:pt x="563538" y="1292168"/>
                  </a:cubicBezTo>
                  <a:cubicBezTo>
                    <a:pt x="565196" y="1286044"/>
                    <a:pt x="570299" y="1293827"/>
                    <a:pt x="570299" y="1293827"/>
                  </a:cubicBezTo>
                  <a:cubicBezTo>
                    <a:pt x="565834" y="1298292"/>
                    <a:pt x="575913" y="1296634"/>
                    <a:pt x="575913" y="1296634"/>
                  </a:cubicBezTo>
                  <a:cubicBezTo>
                    <a:pt x="587141" y="1298292"/>
                    <a:pt x="575913" y="1301099"/>
                    <a:pt x="575913" y="1299951"/>
                  </a:cubicBezTo>
                  <a:cubicBezTo>
                    <a:pt x="566855" y="1301099"/>
                    <a:pt x="574765" y="1302758"/>
                    <a:pt x="574765" y="1302758"/>
                  </a:cubicBezTo>
                  <a:cubicBezTo>
                    <a:pt x="575913" y="1304416"/>
                    <a:pt x="574255" y="1306585"/>
                    <a:pt x="573617" y="1307733"/>
                  </a:cubicBezTo>
                  <a:cubicBezTo>
                    <a:pt x="568513" y="1310540"/>
                    <a:pt x="575275" y="1314368"/>
                    <a:pt x="575275" y="1314368"/>
                  </a:cubicBezTo>
                  <a:cubicBezTo>
                    <a:pt x="577572" y="1314878"/>
                    <a:pt x="581527" y="1316537"/>
                    <a:pt x="582548" y="1318195"/>
                  </a:cubicBezTo>
                  <a:lnTo>
                    <a:pt x="582548" y="1324319"/>
                  </a:lnTo>
                  <a:cubicBezTo>
                    <a:pt x="581910" y="1325340"/>
                    <a:pt x="580761" y="1328147"/>
                    <a:pt x="579996" y="1330316"/>
                  </a:cubicBezTo>
                  <a:cubicBezTo>
                    <a:pt x="581527" y="1330571"/>
                    <a:pt x="583185" y="1330826"/>
                    <a:pt x="584716" y="1331081"/>
                  </a:cubicBezTo>
                  <a:cubicBezTo>
                    <a:pt x="588672" y="1331592"/>
                    <a:pt x="592627" y="1332230"/>
                    <a:pt x="596582" y="1333123"/>
                  </a:cubicBezTo>
                  <a:cubicBezTo>
                    <a:pt x="599261" y="1333633"/>
                    <a:pt x="601047" y="1333505"/>
                    <a:pt x="602578" y="1332612"/>
                  </a:cubicBezTo>
                  <a:cubicBezTo>
                    <a:pt x="608192" y="1329550"/>
                    <a:pt x="614061" y="1327126"/>
                    <a:pt x="619802" y="1324702"/>
                  </a:cubicBezTo>
                  <a:cubicBezTo>
                    <a:pt x="621716" y="1323937"/>
                    <a:pt x="623629" y="1323171"/>
                    <a:pt x="625543" y="1322278"/>
                  </a:cubicBezTo>
                  <a:cubicBezTo>
                    <a:pt x="629881" y="1320492"/>
                    <a:pt x="633453" y="1317813"/>
                    <a:pt x="636388" y="1314495"/>
                  </a:cubicBezTo>
                  <a:cubicBezTo>
                    <a:pt x="637919" y="1312837"/>
                    <a:pt x="639450" y="1310285"/>
                    <a:pt x="639067" y="1307989"/>
                  </a:cubicBezTo>
                  <a:cubicBezTo>
                    <a:pt x="638684" y="1306330"/>
                    <a:pt x="637153" y="1304927"/>
                    <a:pt x="634602" y="1303778"/>
                  </a:cubicBezTo>
                  <a:cubicBezTo>
                    <a:pt x="630902" y="1302120"/>
                    <a:pt x="627840" y="1299696"/>
                    <a:pt x="625033" y="1297272"/>
                  </a:cubicBezTo>
                  <a:cubicBezTo>
                    <a:pt x="623757" y="1296251"/>
                    <a:pt x="622481" y="1295103"/>
                    <a:pt x="621078" y="1294210"/>
                  </a:cubicBezTo>
                  <a:cubicBezTo>
                    <a:pt x="619802" y="1293316"/>
                    <a:pt x="616357" y="1290892"/>
                    <a:pt x="618143" y="1287575"/>
                  </a:cubicBezTo>
                  <a:cubicBezTo>
                    <a:pt x="619674" y="1284641"/>
                    <a:pt x="622864" y="1285151"/>
                    <a:pt x="625033" y="1285534"/>
                  </a:cubicBezTo>
                  <a:lnTo>
                    <a:pt x="625543" y="1285534"/>
                  </a:lnTo>
                  <a:cubicBezTo>
                    <a:pt x="628478" y="1286044"/>
                    <a:pt x="630264" y="1287958"/>
                    <a:pt x="631922" y="1289489"/>
                  </a:cubicBezTo>
                  <a:cubicBezTo>
                    <a:pt x="632816" y="1290382"/>
                    <a:pt x="633709" y="1291275"/>
                    <a:pt x="634729" y="1291786"/>
                  </a:cubicBezTo>
                  <a:cubicBezTo>
                    <a:pt x="635367" y="1292168"/>
                    <a:pt x="636005" y="1292806"/>
                    <a:pt x="636515" y="1293189"/>
                  </a:cubicBezTo>
                  <a:cubicBezTo>
                    <a:pt x="636898" y="1293572"/>
                    <a:pt x="637281" y="1293954"/>
                    <a:pt x="637664" y="1294210"/>
                  </a:cubicBezTo>
                  <a:cubicBezTo>
                    <a:pt x="640471" y="1295485"/>
                    <a:pt x="641108" y="1295485"/>
                    <a:pt x="641746" y="1294465"/>
                  </a:cubicBezTo>
                  <a:cubicBezTo>
                    <a:pt x="641874" y="1294210"/>
                    <a:pt x="642002" y="1294082"/>
                    <a:pt x="642002" y="1294082"/>
                  </a:cubicBezTo>
                  <a:cubicBezTo>
                    <a:pt x="642002" y="1294082"/>
                    <a:pt x="641364" y="1293699"/>
                    <a:pt x="641108" y="1293444"/>
                  </a:cubicBezTo>
                  <a:cubicBezTo>
                    <a:pt x="640598" y="1293061"/>
                    <a:pt x="639960" y="1292678"/>
                    <a:pt x="639450" y="1292168"/>
                  </a:cubicBezTo>
                  <a:cubicBezTo>
                    <a:pt x="639322" y="1291913"/>
                    <a:pt x="638940" y="1291786"/>
                    <a:pt x="638684" y="1291530"/>
                  </a:cubicBezTo>
                  <a:cubicBezTo>
                    <a:pt x="637791" y="1290892"/>
                    <a:pt x="636388" y="1289872"/>
                    <a:pt x="636260" y="1287575"/>
                  </a:cubicBezTo>
                  <a:cubicBezTo>
                    <a:pt x="636260" y="1286810"/>
                    <a:pt x="636643" y="1286172"/>
                    <a:pt x="637409" y="1285917"/>
                  </a:cubicBezTo>
                  <a:cubicBezTo>
                    <a:pt x="642384" y="1284513"/>
                    <a:pt x="646339" y="1287192"/>
                    <a:pt x="649401" y="1289489"/>
                  </a:cubicBezTo>
                  <a:lnTo>
                    <a:pt x="649784" y="1289744"/>
                  </a:lnTo>
                  <a:cubicBezTo>
                    <a:pt x="657056" y="1294975"/>
                    <a:pt x="664584" y="1298675"/>
                    <a:pt x="673004" y="1301227"/>
                  </a:cubicBezTo>
                  <a:cubicBezTo>
                    <a:pt x="680532" y="1303396"/>
                    <a:pt x="686146" y="1310158"/>
                    <a:pt x="689590" y="1315388"/>
                  </a:cubicBezTo>
                  <a:cubicBezTo>
                    <a:pt x="692652" y="1320237"/>
                    <a:pt x="696607" y="1321257"/>
                    <a:pt x="702604" y="1321640"/>
                  </a:cubicBezTo>
                  <a:cubicBezTo>
                    <a:pt x="702604" y="1321640"/>
                    <a:pt x="702731" y="1321640"/>
                    <a:pt x="702859" y="1321640"/>
                  </a:cubicBezTo>
                  <a:cubicBezTo>
                    <a:pt x="704518" y="1321640"/>
                    <a:pt x="706176" y="1321640"/>
                    <a:pt x="707962" y="1321513"/>
                  </a:cubicBezTo>
                  <a:cubicBezTo>
                    <a:pt x="711535" y="1321257"/>
                    <a:pt x="715107" y="1321002"/>
                    <a:pt x="718807" y="1322533"/>
                  </a:cubicBezTo>
                  <a:lnTo>
                    <a:pt x="721741" y="1306968"/>
                  </a:lnTo>
                  <a:cubicBezTo>
                    <a:pt x="721486" y="1306330"/>
                    <a:pt x="721103" y="1305692"/>
                    <a:pt x="720848" y="1305054"/>
                  </a:cubicBezTo>
                  <a:cubicBezTo>
                    <a:pt x="720083" y="1303396"/>
                    <a:pt x="719190" y="1301610"/>
                    <a:pt x="718679" y="1299696"/>
                  </a:cubicBezTo>
                  <a:cubicBezTo>
                    <a:pt x="715745" y="1288851"/>
                    <a:pt x="709493" y="1281961"/>
                    <a:pt x="698521" y="1277368"/>
                  </a:cubicBezTo>
                  <a:cubicBezTo>
                    <a:pt x="693290" y="1275200"/>
                    <a:pt x="688697" y="1271755"/>
                    <a:pt x="684232" y="1268310"/>
                  </a:cubicBezTo>
                  <a:cubicBezTo>
                    <a:pt x="680915" y="1265886"/>
                    <a:pt x="677597" y="1263207"/>
                    <a:pt x="674025" y="1261293"/>
                  </a:cubicBezTo>
                  <a:cubicBezTo>
                    <a:pt x="669432" y="1258741"/>
                    <a:pt x="667136" y="1254659"/>
                    <a:pt x="664967" y="1250831"/>
                  </a:cubicBezTo>
                  <a:cubicBezTo>
                    <a:pt x="663691" y="1248662"/>
                    <a:pt x="662543" y="1246621"/>
                    <a:pt x="661012" y="1244835"/>
                  </a:cubicBezTo>
                  <a:cubicBezTo>
                    <a:pt x="659353" y="1242921"/>
                    <a:pt x="659353" y="1241390"/>
                    <a:pt x="659736" y="1240369"/>
                  </a:cubicBezTo>
                  <a:cubicBezTo>
                    <a:pt x="660501" y="1238200"/>
                    <a:pt x="663180" y="1237562"/>
                    <a:pt x="665349" y="1237307"/>
                  </a:cubicBezTo>
                  <a:cubicBezTo>
                    <a:pt x="670835" y="1236669"/>
                    <a:pt x="675046" y="1239476"/>
                    <a:pt x="678746" y="1242028"/>
                  </a:cubicBezTo>
                  <a:lnTo>
                    <a:pt x="682828" y="1244707"/>
                  </a:lnTo>
                  <a:cubicBezTo>
                    <a:pt x="687294" y="1247641"/>
                    <a:pt x="692014" y="1250576"/>
                    <a:pt x="695332" y="1254786"/>
                  </a:cubicBezTo>
                  <a:cubicBezTo>
                    <a:pt x="699925" y="1260655"/>
                    <a:pt x="705921" y="1264355"/>
                    <a:pt x="712173" y="1268310"/>
                  </a:cubicBezTo>
                  <a:cubicBezTo>
                    <a:pt x="717148" y="1271372"/>
                    <a:pt x="722252" y="1274689"/>
                    <a:pt x="726590" y="1278899"/>
                  </a:cubicBezTo>
                  <a:cubicBezTo>
                    <a:pt x="727993" y="1280303"/>
                    <a:pt x="729524" y="1281706"/>
                    <a:pt x="731055" y="1283110"/>
                  </a:cubicBezTo>
                  <a:cubicBezTo>
                    <a:pt x="736924" y="1288468"/>
                    <a:pt x="742920" y="1294082"/>
                    <a:pt x="745217" y="1302630"/>
                  </a:cubicBezTo>
                  <a:lnTo>
                    <a:pt x="745855" y="1303268"/>
                  </a:lnTo>
                  <a:cubicBezTo>
                    <a:pt x="750831" y="1308116"/>
                    <a:pt x="756061" y="1313219"/>
                    <a:pt x="761675" y="1317685"/>
                  </a:cubicBezTo>
                  <a:cubicBezTo>
                    <a:pt x="763972" y="1319471"/>
                    <a:pt x="766141" y="1321513"/>
                    <a:pt x="768182" y="1323554"/>
                  </a:cubicBezTo>
                  <a:cubicBezTo>
                    <a:pt x="770351" y="1325595"/>
                    <a:pt x="772520" y="1327637"/>
                    <a:pt x="774944" y="1329423"/>
                  </a:cubicBezTo>
                  <a:cubicBezTo>
                    <a:pt x="785533" y="1337843"/>
                    <a:pt x="797781" y="1336950"/>
                    <a:pt x="809519" y="1334654"/>
                  </a:cubicBezTo>
                  <a:cubicBezTo>
                    <a:pt x="817684" y="1333123"/>
                    <a:pt x="824064" y="1336312"/>
                    <a:pt x="829167" y="1339629"/>
                  </a:cubicBezTo>
                  <a:cubicBezTo>
                    <a:pt x="833632" y="1342564"/>
                    <a:pt x="837843" y="1344095"/>
                    <a:pt x="842053" y="1344477"/>
                  </a:cubicBezTo>
                  <a:cubicBezTo>
                    <a:pt x="850601" y="1345243"/>
                    <a:pt x="855449" y="1350857"/>
                    <a:pt x="860170" y="1356215"/>
                  </a:cubicBezTo>
                  <a:cubicBezTo>
                    <a:pt x="860808" y="1356981"/>
                    <a:pt x="861573" y="1357746"/>
                    <a:pt x="862211" y="1358512"/>
                  </a:cubicBezTo>
                  <a:cubicBezTo>
                    <a:pt x="866421" y="1363105"/>
                    <a:pt x="867697" y="1368463"/>
                    <a:pt x="868973" y="1373694"/>
                  </a:cubicBezTo>
                  <a:cubicBezTo>
                    <a:pt x="869483" y="1375863"/>
                    <a:pt x="869994" y="1378032"/>
                    <a:pt x="870759" y="1380073"/>
                  </a:cubicBezTo>
                  <a:cubicBezTo>
                    <a:pt x="870887" y="1380201"/>
                    <a:pt x="871652" y="1380073"/>
                    <a:pt x="872035" y="1380073"/>
                  </a:cubicBezTo>
                  <a:cubicBezTo>
                    <a:pt x="872928" y="1380073"/>
                    <a:pt x="873949" y="1380073"/>
                    <a:pt x="874714" y="1380711"/>
                  </a:cubicBezTo>
                  <a:cubicBezTo>
                    <a:pt x="874714" y="1380711"/>
                    <a:pt x="874842" y="1380839"/>
                    <a:pt x="874842" y="1380966"/>
                  </a:cubicBezTo>
                  <a:cubicBezTo>
                    <a:pt x="877649" y="1381860"/>
                    <a:pt x="879818" y="1383136"/>
                    <a:pt x="881859" y="1384284"/>
                  </a:cubicBezTo>
                  <a:cubicBezTo>
                    <a:pt x="885431" y="1386325"/>
                    <a:pt x="888238" y="1387856"/>
                    <a:pt x="892959" y="1387091"/>
                  </a:cubicBezTo>
                  <a:cubicBezTo>
                    <a:pt x="894490" y="1386835"/>
                    <a:pt x="897042" y="1387091"/>
                    <a:pt x="898572" y="1388111"/>
                  </a:cubicBezTo>
                  <a:cubicBezTo>
                    <a:pt x="901890" y="1390663"/>
                    <a:pt x="905845" y="1391556"/>
                    <a:pt x="910055" y="1392577"/>
                  </a:cubicBezTo>
                  <a:cubicBezTo>
                    <a:pt x="911714" y="1392959"/>
                    <a:pt x="913372" y="1393342"/>
                    <a:pt x="915031" y="1393852"/>
                  </a:cubicBezTo>
                  <a:cubicBezTo>
                    <a:pt x="915158" y="1393852"/>
                    <a:pt x="915286" y="1393852"/>
                    <a:pt x="915414" y="1393980"/>
                  </a:cubicBezTo>
                  <a:cubicBezTo>
                    <a:pt x="924344" y="1383136"/>
                    <a:pt x="924472" y="1383008"/>
                    <a:pt x="924472" y="1383008"/>
                  </a:cubicBezTo>
                  <a:lnTo>
                    <a:pt x="948713" y="1383008"/>
                  </a:lnTo>
                  <a:cubicBezTo>
                    <a:pt x="957133" y="1383008"/>
                    <a:pt x="980864" y="1370249"/>
                    <a:pt x="991581" y="1366932"/>
                  </a:cubicBezTo>
                  <a:cubicBezTo>
                    <a:pt x="1001788" y="1363615"/>
                    <a:pt x="1007401" y="1343584"/>
                    <a:pt x="1007401" y="1343584"/>
                  </a:cubicBezTo>
                  <a:lnTo>
                    <a:pt x="1064942" y="1352515"/>
                  </a:lnTo>
                  <a:lnTo>
                    <a:pt x="1074000" y="1335292"/>
                  </a:lnTo>
                  <a:lnTo>
                    <a:pt x="1095945" y="1340267"/>
                  </a:lnTo>
                  <a:lnTo>
                    <a:pt x="1112275" y="1360298"/>
                  </a:lnTo>
                  <a:cubicBezTo>
                    <a:pt x="1112275" y="1360298"/>
                    <a:pt x="1139961" y="1334143"/>
                    <a:pt x="1142130" y="1326361"/>
                  </a:cubicBezTo>
                  <a:cubicBezTo>
                    <a:pt x="1144426" y="1318578"/>
                    <a:pt x="1132561" y="1292423"/>
                    <a:pt x="1130265" y="1287958"/>
                  </a:cubicBezTo>
                  <a:cubicBezTo>
                    <a:pt x="1127968" y="1283492"/>
                    <a:pt x="1111127" y="1267417"/>
                    <a:pt x="1111127" y="1267417"/>
                  </a:cubicBezTo>
                  <a:lnTo>
                    <a:pt x="1136516" y="1249683"/>
                  </a:lnTo>
                  <a:lnTo>
                    <a:pt x="1120186" y="1222507"/>
                  </a:lnTo>
                  <a:cubicBezTo>
                    <a:pt x="1120186" y="1222507"/>
                    <a:pt x="1125799" y="1215873"/>
                    <a:pt x="1131413" y="1208091"/>
                  </a:cubicBezTo>
                  <a:cubicBezTo>
                    <a:pt x="1137665" y="1199798"/>
                    <a:pt x="1131413" y="1177470"/>
                    <a:pt x="1131413" y="1177470"/>
                  </a:cubicBezTo>
                  <a:lnTo>
                    <a:pt x="1120186" y="1165733"/>
                  </a:lnTo>
                  <a:lnTo>
                    <a:pt x="1136516" y="1143533"/>
                  </a:lnTo>
                  <a:lnTo>
                    <a:pt x="1133709" y="1117378"/>
                  </a:lnTo>
                  <a:lnTo>
                    <a:pt x="1152337" y="1092372"/>
                  </a:lnTo>
                  <a:lnTo>
                    <a:pt x="1137665" y="1086758"/>
                  </a:lnTo>
                  <a:lnTo>
                    <a:pt x="1150040" y="1070045"/>
                  </a:lnTo>
                  <a:cubicBezTo>
                    <a:pt x="1150040" y="1070045"/>
                    <a:pt x="1124651" y="1018884"/>
                    <a:pt x="1120186" y="1001150"/>
                  </a:cubicBezTo>
                  <a:cubicBezTo>
                    <a:pt x="1115720" y="982778"/>
                    <a:pt x="1106662" y="935572"/>
                    <a:pt x="1102707" y="927789"/>
                  </a:cubicBezTo>
                  <a:cubicBezTo>
                    <a:pt x="1099262" y="919496"/>
                    <a:pt x="1084590" y="911713"/>
                    <a:pt x="1084590" y="911713"/>
                  </a:cubicBezTo>
                  <a:lnTo>
                    <a:pt x="1084590" y="887855"/>
                  </a:lnTo>
                  <a:lnTo>
                    <a:pt x="1103727" y="863359"/>
                  </a:lnTo>
                  <a:lnTo>
                    <a:pt x="1098114" y="842818"/>
                  </a:lnTo>
                  <a:lnTo>
                    <a:pt x="1129116" y="840649"/>
                  </a:lnTo>
                  <a:lnTo>
                    <a:pt x="1148892" y="849580"/>
                  </a:lnTo>
                  <a:lnTo>
                    <a:pt x="1157950" y="843966"/>
                  </a:lnTo>
                  <a:lnTo>
                    <a:pt x="1163564" y="831718"/>
                  </a:lnTo>
                  <a:lnTo>
                    <a:pt x="1185508" y="822277"/>
                  </a:lnTo>
                  <a:lnTo>
                    <a:pt x="1182064" y="810029"/>
                  </a:lnTo>
                  <a:cubicBezTo>
                    <a:pt x="1182064" y="810029"/>
                    <a:pt x="1194439" y="805564"/>
                    <a:pt x="1198394" y="805564"/>
                  </a:cubicBezTo>
                  <a:cubicBezTo>
                    <a:pt x="1201839" y="805564"/>
                    <a:pt x="1217532" y="797781"/>
                    <a:pt x="1217532" y="797781"/>
                  </a:cubicBezTo>
                  <a:lnTo>
                    <a:pt x="1219828" y="758358"/>
                  </a:lnTo>
                  <a:lnTo>
                    <a:pt x="1228249" y="745599"/>
                  </a:lnTo>
                  <a:lnTo>
                    <a:pt x="1199415" y="727865"/>
                  </a:lnTo>
                  <a:cubicBezTo>
                    <a:pt x="1199415" y="727865"/>
                    <a:pt x="1198267" y="715107"/>
                    <a:pt x="1195970" y="708473"/>
                  </a:cubicBezTo>
                  <a:cubicBezTo>
                    <a:pt x="1193163" y="701838"/>
                    <a:pt x="1207198" y="694056"/>
                    <a:pt x="1211791" y="694056"/>
                  </a:cubicBezTo>
                  <a:cubicBezTo>
                    <a:pt x="1216384" y="694056"/>
                    <a:pt x="1242794" y="714086"/>
                    <a:pt x="1242794" y="714086"/>
                  </a:cubicBezTo>
                  <a:lnTo>
                    <a:pt x="1255169" y="708473"/>
                  </a:lnTo>
                  <a:lnTo>
                    <a:pt x="1259124" y="695076"/>
                  </a:lnTo>
                  <a:lnTo>
                    <a:pt x="1269331" y="698393"/>
                  </a:lnTo>
                  <a:lnTo>
                    <a:pt x="1265886" y="724548"/>
                  </a:lnTo>
                  <a:lnTo>
                    <a:pt x="1296889" y="702859"/>
                  </a:lnTo>
                  <a:close/>
                </a:path>
              </a:pathLst>
            </a:custGeom>
            <a:solidFill>
              <a:srgbClr val="EDE6E1"/>
            </a:solidFill>
            <a:ln w="12700" cap="rnd">
              <a:solidFill>
                <a:srgbClr val="D9CEC9"/>
              </a:solidFill>
              <a:prstDash val="solid"/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07921"/>
              <a:endParaRPr lang="de-DE" sz="1698">
                <a:solidFill>
                  <a:srgbClr val="3B3B3B"/>
                </a:solidFill>
              </a:endParaRPr>
            </a:p>
          </p:txBody>
        </p:sp>
      </p:grpSp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133">
              <a:latin typeface="EnBW DIN Pro"/>
              <a:cs typeface="+mj-cs"/>
              <a:sym typeface="EnBW DIN Pro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 vert="horz"/>
          <a:lstStyle/>
          <a:p>
            <a:r>
              <a:rPr lang="de-DE" dirty="0">
                <a:solidFill>
                  <a:schemeClr val="tx2"/>
                </a:solidFill>
              </a:rPr>
              <a:t>Wir sind für Sie nah.</a:t>
            </a:r>
          </a:p>
        </p:txBody>
      </p:sp>
      <p:sp>
        <p:nvSpPr>
          <p:cNvPr id="98" name="Foliennummernplatzhalter 97">
            <a:extLst>
              <a:ext uri="{FF2B5EF4-FFF2-40B4-BE49-F238E27FC236}">
                <a16:creationId xmlns:a16="http://schemas.microsoft.com/office/drawing/2014/main" id="{E29B5632-200D-57F1-A0A8-5BEC4E9E9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6293320-4647-0924-7E79-CD4C179A3E2A}"/>
              </a:ext>
            </a:extLst>
          </p:cNvPr>
          <p:cNvSpPr txBox="1">
            <a:spLocks/>
          </p:cNvSpPr>
          <p:nvPr/>
        </p:nvSpPr>
        <p:spPr>
          <a:xfrm>
            <a:off x="7464152" y="1844824"/>
            <a:ext cx="2446177" cy="46769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800" b="0" kern="0" dirty="0">
                <a:solidFill>
                  <a:schemeClr val="tx1"/>
                </a:solidFill>
                <a:latin typeface="+mj-lt"/>
              </a:rPr>
              <a:t>Unsere Standorte</a:t>
            </a:r>
            <a:br>
              <a:rPr lang="de-DE" sz="1800" b="0" kern="0" dirty="0">
                <a:solidFill>
                  <a:schemeClr val="tx1"/>
                </a:solidFill>
                <a:latin typeface="+mj-lt"/>
              </a:rPr>
            </a:br>
            <a:r>
              <a:rPr lang="de-DE" sz="1400" b="0" dirty="0">
                <a:solidFill>
                  <a:schemeClr val="tx1"/>
                </a:solidFill>
                <a:latin typeface="+mn-lt"/>
                <a:ea typeface="+mn-ea"/>
                <a:cs typeface="EnBW DIN Pro" panose="020B0504020101020102" pitchFamily="34" charset="0"/>
              </a:rPr>
              <a:t>in Baden-Württemberg </a:t>
            </a:r>
            <a:br>
              <a:rPr lang="de-DE" sz="1400" b="0" dirty="0">
                <a:solidFill>
                  <a:schemeClr val="tx1"/>
                </a:solidFill>
                <a:latin typeface="+mn-lt"/>
                <a:ea typeface="+mn-ea"/>
                <a:cs typeface="EnBW DIN Pro" panose="020B0504020101020102" pitchFamily="34" charset="0"/>
              </a:rPr>
            </a:br>
            <a:r>
              <a:rPr lang="de-DE" sz="1400" b="0" dirty="0">
                <a:solidFill>
                  <a:schemeClr val="tx1"/>
                </a:solidFill>
                <a:latin typeface="+mn-lt"/>
                <a:ea typeface="+mn-ea"/>
                <a:cs typeface="EnBW DIN Pro" panose="020B0504020101020102" pitchFamily="34" charset="0"/>
              </a:rPr>
              <a:t>und Bayern</a:t>
            </a:r>
          </a:p>
        </p:txBody>
      </p:sp>
      <p:sp>
        <p:nvSpPr>
          <p:cNvPr id="8" name="Textfeld 29">
            <a:extLst>
              <a:ext uri="{FF2B5EF4-FFF2-40B4-BE49-F238E27FC236}">
                <a16:creationId xmlns:a16="http://schemas.microsoft.com/office/drawing/2014/main" id="{E9624AE9-5A4A-817F-18C2-BC474CDC5C54}"/>
              </a:ext>
            </a:extLst>
          </p:cNvPr>
          <p:cNvSpPr txBox="1"/>
          <p:nvPr/>
        </p:nvSpPr>
        <p:spPr bwMode="gray">
          <a:xfrm>
            <a:off x="407988" y="1844824"/>
            <a:ext cx="2952000" cy="46769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>
              <a:lnSpc>
                <a:spcPct val="100000"/>
              </a:lnSpc>
            </a:pPr>
            <a:r>
              <a:rPr lang="de-DE" sz="1800" kern="0">
                <a:solidFill>
                  <a:schemeClr val="tx1"/>
                </a:solidFill>
                <a:latin typeface="+mj-lt"/>
                <a:cs typeface="EnBW DIN Pro"/>
                <a:sym typeface="EnBW DIN Pro"/>
              </a:rPr>
              <a:t>Versorgung</a:t>
            </a:r>
          </a:p>
        </p:txBody>
      </p:sp>
      <p:sp>
        <p:nvSpPr>
          <p:cNvPr id="9" name="Textfeld 29">
            <a:extLst>
              <a:ext uri="{FF2B5EF4-FFF2-40B4-BE49-F238E27FC236}">
                <a16:creationId xmlns:a16="http://schemas.microsoft.com/office/drawing/2014/main" id="{B42F5163-57EC-3ACF-9ED4-21623D9F63E0}"/>
              </a:ext>
            </a:extLst>
          </p:cNvPr>
          <p:cNvSpPr txBox="1"/>
          <p:nvPr/>
        </p:nvSpPr>
        <p:spPr bwMode="gray">
          <a:xfrm>
            <a:off x="3900029" y="1844824"/>
            <a:ext cx="2952000" cy="46769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>
              <a:lnSpc>
                <a:spcPct val="100000"/>
              </a:lnSpc>
            </a:pPr>
            <a:r>
              <a:rPr lang="de-DE" sz="1800" kern="0">
                <a:solidFill>
                  <a:schemeClr val="tx1"/>
                </a:solidFill>
                <a:latin typeface="+mj-lt"/>
                <a:cs typeface="EnBW DIN Pro"/>
                <a:sym typeface="EnBW DIN Pro"/>
              </a:rPr>
              <a:t>Kunden insgesamt</a:t>
            </a:r>
          </a:p>
        </p:txBody>
      </p:sp>
      <p:sp>
        <p:nvSpPr>
          <p:cNvPr id="10" name="Textfeld 5">
            <a:extLst>
              <a:ext uri="{FF2B5EF4-FFF2-40B4-BE49-F238E27FC236}">
                <a16:creationId xmlns:a16="http://schemas.microsoft.com/office/drawing/2014/main" id="{F1763BA9-FBBA-10F2-4772-976BC9F8A7F2}"/>
              </a:ext>
            </a:extLst>
          </p:cNvPr>
          <p:cNvSpPr txBox="1"/>
          <p:nvPr/>
        </p:nvSpPr>
        <p:spPr bwMode="gray">
          <a:xfrm>
            <a:off x="407988" y="2154722"/>
            <a:ext cx="2952000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600">
                <a:solidFill>
                  <a:srgbClr val="322A26"/>
                </a:solidFill>
                <a:latin typeface="EnBW DIN Pro"/>
              </a:rPr>
              <a:t>in über </a:t>
            </a:r>
            <a:r>
              <a:rPr lang="de-DE" sz="3600">
                <a:solidFill>
                  <a:schemeClr val="tx2"/>
                </a:solidFill>
                <a:latin typeface="+mj-lt"/>
                <a:ea typeface="DIN-Regular" panose="020B0500010101010101" pitchFamily="34" charset="0"/>
              </a:rPr>
              <a:t>40 %</a:t>
            </a:r>
          </a:p>
        </p:txBody>
      </p:sp>
      <p:sp>
        <p:nvSpPr>
          <p:cNvPr id="11" name="Rectangle 64">
            <a:extLst>
              <a:ext uri="{FF2B5EF4-FFF2-40B4-BE49-F238E27FC236}">
                <a16:creationId xmlns:a16="http://schemas.microsoft.com/office/drawing/2014/main" id="{68837D8A-8625-8268-5199-53A4CC40EEB1}"/>
              </a:ext>
            </a:extLst>
          </p:cNvPr>
          <p:cNvSpPr/>
          <p:nvPr/>
        </p:nvSpPr>
        <p:spPr bwMode="gray">
          <a:xfrm>
            <a:off x="3900029" y="2154722"/>
            <a:ext cx="295200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600" dirty="0"/>
              <a:t>rund</a:t>
            </a:r>
            <a:r>
              <a:rPr lang="de-DE" sz="2265" dirty="0">
                <a:cs typeface="EnBW DIN Pro" panose="020B0504020101020102" pitchFamily="34" charset="0"/>
              </a:rPr>
              <a:t> </a:t>
            </a:r>
            <a:r>
              <a:rPr lang="de-DE" sz="3600" dirty="0">
                <a:solidFill>
                  <a:schemeClr val="tx2"/>
                </a:solidFill>
                <a:latin typeface="+mj-lt"/>
                <a:ea typeface="DIN-Regular" panose="020B0500010101010101" pitchFamily="34" charset="0"/>
                <a:cs typeface="EnBW DIN Pro" panose="020B0504020101020102" pitchFamily="34" charset="0"/>
              </a:rPr>
              <a:t>100</a:t>
            </a:r>
            <a:r>
              <a:rPr lang="de-DE" sz="3600" dirty="0">
                <a:solidFill>
                  <a:schemeClr val="tx2"/>
                </a:solidFill>
                <a:latin typeface="+mj-lt"/>
                <a:ea typeface="DIN-Regular" panose="020B0500010101010101" pitchFamily="34" charset="0"/>
              </a:rPr>
              <a:t>.000</a:t>
            </a: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FD942645-827D-AE17-BA3D-62CDE5E2C7D7}"/>
              </a:ext>
            </a:extLst>
          </p:cNvPr>
          <p:cNvSpPr/>
          <p:nvPr/>
        </p:nvSpPr>
        <p:spPr bwMode="gray">
          <a:xfrm>
            <a:off x="407988" y="2730793"/>
            <a:ext cx="2952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cs typeface="EnBW DIN Pro" panose="020B0504020101020102" pitchFamily="34" charset="0"/>
              </a:rPr>
              <a:t>der Kommunen Baden-Württembergs und im angrenzenden Bayern erfolgreich mit gigabitfähiger Glasfasertechnologie aktiv</a:t>
            </a:r>
          </a:p>
        </p:txBody>
      </p:sp>
      <p:sp>
        <p:nvSpPr>
          <p:cNvPr id="13" name="Rectangle 14">
            <a:extLst>
              <a:ext uri="{FF2B5EF4-FFF2-40B4-BE49-F238E27FC236}">
                <a16:creationId xmlns:a16="http://schemas.microsoft.com/office/drawing/2014/main" id="{276420A9-567E-6B5F-532C-CE747FCE690E}"/>
              </a:ext>
            </a:extLst>
          </p:cNvPr>
          <p:cNvSpPr/>
          <p:nvPr/>
        </p:nvSpPr>
        <p:spPr bwMode="gray">
          <a:xfrm>
            <a:off x="3900029" y="2730793"/>
            <a:ext cx="295200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cs typeface="EnBW DIN Pro" panose="020B0504020101020102" pitchFamily="34" charset="0"/>
              </a:rPr>
              <a:t>Uns vertrauen Industrie- und Geschäftskunden ebenso wie Privatkunden und die EnBW.</a:t>
            </a:r>
          </a:p>
        </p:txBody>
      </p:sp>
      <p:sp>
        <p:nvSpPr>
          <p:cNvPr id="15" name="Textfeld 29">
            <a:extLst>
              <a:ext uri="{FF2B5EF4-FFF2-40B4-BE49-F238E27FC236}">
                <a16:creationId xmlns:a16="http://schemas.microsoft.com/office/drawing/2014/main" id="{0055024B-F92C-E153-865E-093CB6B8B0EF}"/>
              </a:ext>
            </a:extLst>
          </p:cNvPr>
          <p:cNvSpPr txBox="1"/>
          <p:nvPr/>
        </p:nvSpPr>
        <p:spPr bwMode="gray">
          <a:xfrm>
            <a:off x="3900029" y="4584325"/>
            <a:ext cx="2952000" cy="479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/>
            <a:r>
              <a:rPr lang="de-DE" sz="1800" kern="0">
                <a:solidFill>
                  <a:schemeClr val="tx1"/>
                </a:solidFill>
                <a:latin typeface="+mj-lt"/>
                <a:cs typeface="EnBW DIN Pro"/>
                <a:sym typeface="EnBW DIN Pro"/>
              </a:rPr>
              <a:t>Umsatz</a:t>
            </a:r>
          </a:p>
        </p:txBody>
      </p:sp>
      <p:sp>
        <p:nvSpPr>
          <p:cNvPr id="17" name="Rectangle 64">
            <a:extLst>
              <a:ext uri="{FF2B5EF4-FFF2-40B4-BE49-F238E27FC236}">
                <a16:creationId xmlns:a16="http://schemas.microsoft.com/office/drawing/2014/main" id="{C517D2BA-33EC-08C4-7B2E-1F58CB569026}"/>
              </a:ext>
            </a:extLst>
          </p:cNvPr>
          <p:cNvSpPr/>
          <p:nvPr/>
        </p:nvSpPr>
        <p:spPr bwMode="gray">
          <a:xfrm>
            <a:off x="3900029" y="4870042"/>
            <a:ext cx="295200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21089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über </a:t>
            </a:r>
            <a:r>
              <a:rPr kumimoji="0" lang="de-DE" sz="3600" b="0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Mark OT Medium"/>
                <a:ea typeface="DIN-Regular" panose="020B0500010101010101" pitchFamily="34" charset="0"/>
                <a:cs typeface="+mn-cs"/>
              </a:rPr>
              <a:t>100 Mio. €</a:t>
            </a:r>
          </a:p>
        </p:txBody>
      </p:sp>
      <p:sp>
        <p:nvSpPr>
          <p:cNvPr id="21" name="Rectangle 14">
            <a:extLst>
              <a:ext uri="{FF2B5EF4-FFF2-40B4-BE49-F238E27FC236}">
                <a16:creationId xmlns:a16="http://schemas.microsoft.com/office/drawing/2014/main" id="{CFCF9AA9-D4B0-C3E0-6211-83800822D0E8}"/>
              </a:ext>
            </a:extLst>
          </p:cNvPr>
          <p:cNvSpPr/>
          <p:nvPr/>
        </p:nvSpPr>
        <p:spPr bwMode="gray">
          <a:xfrm>
            <a:off x="3900029" y="5446113"/>
            <a:ext cx="284397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cs typeface="EnBW DIN Pro" panose="020B0504020101020102" pitchFamily="34" charset="0"/>
              </a:rPr>
              <a:t>Wir wachsen kontinuierlich.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F4DC96B9-7E82-4A4D-2D96-8C039EBDAD9D}"/>
              </a:ext>
            </a:extLst>
          </p:cNvPr>
          <p:cNvCxnSpPr>
            <a:cxnSpLocks/>
          </p:cNvCxnSpPr>
          <p:nvPr/>
        </p:nvCxnSpPr>
        <p:spPr>
          <a:xfrm>
            <a:off x="3431704" y="4385224"/>
            <a:ext cx="0" cy="188857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29">
            <a:extLst>
              <a:ext uri="{FF2B5EF4-FFF2-40B4-BE49-F238E27FC236}">
                <a16:creationId xmlns:a16="http://schemas.microsoft.com/office/drawing/2014/main" id="{FC4AFDAD-DE62-8D31-4207-E63DFDB229F0}"/>
              </a:ext>
            </a:extLst>
          </p:cNvPr>
          <p:cNvSpPr txBox="1"/>
          <p:nvPr/>
        </p:nvSpPr>
        <p:spPr bwMode="gray">
          <a:xfrm>
            <a:off x="407988" y="4584325"/>
            <a:ext cx="2952000" cy="479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/>
            <a:r>
              <a:rPr lang="de-DE" sz="1800" kern="0" dirty="0">
                <a:solidFill>
                  <a:schemeClr val="tx1"/>
                </a:solidFill>
                <a:latin typeface="+mj-lt"/>
                <a:cs typeface="EnBW DIN Pro"/>
                <a:sym typeface="EnBW DIN Pro"/>
              </a:rPr>
              <a:t>Mitarbeiter</a:t>
            </a:r>
          </a:p>
        </p:txBody>
      </p:sp>
      <p:sp>
        <p:nvSpPr>
          <p:cNvPr id="20" name="Rectangle 64">
            <a:extLst>
              <a:ext uri="{FF2B5EF4-FFF2-40B4-BE49-F238E27FC236}">
                <a16:creationId xmlns:a16="http://schemas.microsoft.com/office/drawing/2014/main" id="{AD4A2057-949C-2799-03BE-B7CCC15993B3}"/>
              </a:ext>
            </a:extLst>
          </p:cNvPr>
          <p:cNvSpPr/>
          <p:nvPr/>
        </p:nvSpPr>
        <p:spPr bwMode="gray">
          <a:xfrm>
            <a:off x="407988" y="4870042"/>
            <a:ext cx="295200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600" dirty="0"/>
              <a:t>über </a:t>
            </a:r>
            <a:r>
              <a:rPr lang="de-DE" sz="3600" dirty="0">
                <a:solidFill>
                  <a:schemeClr val="tx2"/>
                </a:solidFill>
                <a:latin typeface="+mj-lt"/>
                <a:ea typeface="DIN-Regular" panose="020B0500010101010101" pitchFamily="34" charset="0"/>
              </a:rPr>
              <a:t>450</a:t>
            </a: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2D9FC852-CEBA-82D6-AB9A-72009F781EB4}"/>
              </a:ext>
            </a:extLst>
          </p:cNvPr>
          <p:cNvSpPr/>
          <p:nvPr/>
        </p:nvSpPr>
        <p:spPr bwMode="gray">
          <a:xfrm>
            <a:off x="407987" y="5446113"/>
            <a:ext cx="324008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cs typeface="EnBW DIN Pro" panose="020B0504020101020102" pitchFamily="34" charset="0"/>
              </a:rPr>
              <a:t>Wir haben ein starkes Team.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25D53C40-4B34-B12A-7288-CCB9F346559E}"/>
              </a:ext>
            </a:extLst>
          </p:cNvPr>
          <p:cNvGrpSpPr/>
          <p:nvPr/>
        </p:nvGrpSpPr>
        <p:grpSpPr>
          <a:xfrm>
            <a:off x="9439819" y="5721117"/>
            <a:ext cx="1120336" cy="332999"/>
            <a:chOff x="10128000" y="5840648"/>
            <a:chExt cx="1120336" cy="332999"/>
          </a:xfrm>
        </p:grpSpPr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10DDD6B7-9319-017B-4E1E-EE9D0C2B9853}"/>
                </a:ext>
              </a:extLst>
            </p:cNvPr>
            <p:cNvSpPr txBox="1"/>
            <p:nvPr/>
          </p:nvSpPr>
          <p:spPr bwMode="gray">
            <a:xfrm>
              <a:off x="10128000" y="5840648"/>
              <a:ext cx="1120336" cy="2210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36000" rtlCol="0" anchor="b" anchorCtr="0">
              <a:spAutoFit/>
            </a:bodyPr>
            <a:lstStyle/>
            <a:p>
              <a:pPr algn="ctr">
                <a:buClr>
                  <a:schemeClr val="accent6"/>
                </a:buClr>
                <a:buSzPct val="140000"/>
              </a:pPr>
              <a:r>
                <a:rPr lang="de-DE" sz="1200">
                  <a:ea typeface="DIN-Regular" panose="020B0500010101010101" pitchFamily="34" charset="0"/>
                </a:rPr>
                <a:t>Lindau</a:t>
              </a: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8F6FC132-D9BB-208E-53AB-8529B3154007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16C6AA01-A68E-7AA8-7C45-24D1B57766A8}"/>
              </a:ext>
            </a:extLst>
          </p:cNvPr>
          <p:cNvGrpSpPr/>
          <p:nvPr/>
        </p:nvGrpSpPr>
        <p:grpSpPr>
          <a:xfrm>
            <a:off x="10177506" y="3614835"/>
            <a:ext cx="1120336" cy="517664"/>
            <a:chOff x="10361842" y="5655983"/>
            <a:chExt cx="1120336" cy="517664"/>
          </a:xfrm>
        </p:grpSpPr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060206B5-95A7-59E0-64D4-093FC9F89DAC}"/>
                </a:ext>
              </a:extLst>
            </p:cNvPr>
            <p:cNvSpPr txBox="1"/>
            <p:nvPr/>
          </p:nvSpPr>
          <p:spPr bwMode="gray">
            <a:xfrm>
              <a:off x="10361842" y="5655983"/>
              <a:ext cx="1120336" cy="4056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36000" rtlCol="0" anchor="b" anchorCtr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200" b="1">
                  <a:ea typeface="DIN-Regular" panose="020B0500010101010101" pitchFamily="34" charset="0"/>
                </a:rPr>
                <a:t>Hauptsitz</a:t>
              </a:r>
            </a:p>
            <a:p>
              <a:pPr>
                <a:buClr>
                  <a:schemeClr val="accent6"/>
                </a:buClr>
                <a:buSzPct val="140000"/>
              </a:pPr>
              <a:r>
                <a:rPr lang="de-DE" sz="1200">
                  <a:ea typeface="DIN-Regular" panose="020B0500010101010101" pitchFamily="34" charset="0"/>
                </a:rPr>
                <a:t>Ellwangen</a:t>
              </a: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1A315087-B3E0-E069-FD8C-6F3982857C36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B0F770A4-E3D6-B10A-1C7A-BB1D3A72253E}"/>
              </a:ext>
            </a:extLst>
          </p:cNvPr>
          <p:cNvGrpSpPr/>
          <p:nvPr/>
        </p:nvGrpSpPr>
        <p:grpSpPr>
          <a:xfrm>
            <a:off x="9840000" y="4112812"/>
            <a:ext cx="1120336" cy="316326"/>
            <a:chOff x="10128000" y="6089282"/>
            <a:chExt cx="1120336" cy="316326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C6CA3D97-E282-5CFC-1A11-153CB1EF1B4C}"/>
                </a:ext>
              </a:extLst>
            </p:cNvPr>
            <p:cNvSpPr txBox="1"/>
            <p:nvPr/>
          </p:nvSpPr>
          <p:spPr bwMode="gray">
            <a:xfrm>
              <a:off x="10128000" y="6148239"/>
              <a:ext cx="1120336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36000" rIns="0" bIns="36000" rtlCol="0" anchor="t" anchorCtr="0">
              <a:spAutoFit/>
            </a:bodyPr>
            <a:lstStyle/>
            <a:p>
              <a:pPr algn="ctr">
                <a:buClr>
                  <a:schemeClr val="accent6"/>
                </a:buClr>
                <a:buSzPct val="140000"/>
              </a:pPr>
              <a:r>
                <a:rPr lang="de-DE" sz="1200">
                  <a:ea typeface="DIN-Regular" panose="020B0500010101010101" pitchFamily="34" charset="0"/>
                </a:rPr>
                <a:t>Hüttlingen</a:t>
              </a:r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841C751E-58A8-4599-E40C-6E42F0E6AA5F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F202E77A-2BD1-0720-A6AF-7F317F40F372}"/>
              </a:ext>
            </a:extLst>
          </p:cNvPr>
          <p:cNvGrpSpPr/>
          <p:nvPr/>
        </p:nvGrpSpPr>
        <p:grpSpPr>
          <a:xfrm>
            <a:off x="8260200" y="3536812"/>
            <a:ext cx="1836136" cy="470645"/>
            <a:chOff x="8260200" y="3573000"/>
            <a:chExt cx="1836136" cy="470645"/>
          </a:xfrm>
        </p:grpSpPr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3B1C2EB9-B563-6AE4-3F34-85C94EBE1D29}"/>
                </a:ext>
              </a:extLst>
            </p:cNvPr>
            <p:cNvGrpSpPr/>
            <p:nvPr/>
          </p:nvGrpSpPr>
          <p:grpSpPr>
            <a:xfrm>
              <a:off x="8976000" y="3573000"/>
              <a:ext cx="1120336" cy="300365"/>
              <a:chOff x="10128000" y="5873282"/>
              <a:chExt cx="1120336" cy="300365"/>
            </a:xfrm>
          </p:grpSpPr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BA1F9BAB-D3CC-2E0A-93C2-59CACEB2C816}"/>
                  </a:ext>
                </a:extLst>
              </p:cNvPr>
              <p:cNvSpPr txBox="1"/>
              <p:nvPr/>
            </p:nvSpPr>
            <p:spPr bwMode="gray">
              <a:xfrm>
                <a:off x="10128000" y="5873282"/>
                <a:ext cx="1120336" cy="2210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36000" rtlCol="0" anchor="b" anchorCtr="0">
                <a:spAutoFit/>
              </a:bodyPr>
              <a:lstStyle>
                <a:defPPr>
                  <a:defRPr lang="de-DE"/>
                </a:defPPr>
                <a:lvl1pPr algn="ctr">
                  <a:buClr>
                    <a:schemeClr val="accent6"/>
                  </a:buClr>
                  <a:buSzPct val="140000"/>
                  <a:defRPr sz="1200">
                    <a:ea typeface="DIN-Regular" panose="020B0500010101010101" pitchFamily="34" charset="0"/>
                  </a:defRPr>
                </a:lvl1pPr>
              </a:lstStyle>
              <a:p>
                <a:r>
                  <a:rPr lang="de-DE"/>
                  <a:t>Heilbronn</a:t>
                </a:r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BABA79B4-B4AD-D00B-9BED-8851FE35E9A3}"/>
                  </a:ext>
                </a:extLst>
              </p:cNvPr>
              <p:cNvSpPr/>
              <p:nvPr/>
            </p:nvSpPr>
            <p:spPr bwMode="gray">
              <a:xfrm>
                <a:off x="10647681" y="6089282"/>
                <a:ext cx="84365" cy="84365"/>
              </a:xfrm>
              <a:prstGeom prst="ellips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/>
              <a:lstStyle/>
              <a:p>
                <a:pPr algn="ctr"/>
                <a:endParaRPr lang="de-DE" sz="160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2DF036E5-023C-6115-DDD5-E1D12319A28C}"/>
                </a:ext>
              </a:extLst>
            </p:cNvPr>
            <p:cNvGrpSpPr/>
            <p:nvPr/>
          </p:nvGrpSpPr>
          <p:grpSpPr>
            <a:xfrm>
              <a:off x="8260200" y="3743280"/>
              <a:ext cx="1120336" cy="300365"/>
              <a:chOff x="10128000" y="5873282"/>
              <a:chExt cx="1120336" cy="300365"/>
            </a:xfrm>
          </p:grpSpPr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35201B97-62D7-6C0F-A64B-1566ABC0B833}"/>
                  </a:ext>
                </a:extLst>
              </p:cNvPr>
              <p:cNvSpPr txBox="1"/>
              <p:nvPr/>
            </p:nvSpPr>
            <p:spPr bwMode="gray">
              <a:xfrm>
                <a:off x="10128000" y="5873282"/>
                <a:ext cx="1120336" cy="257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36000" rtlCol="0" anchor="b" anchorCtr="0">
                <a:spAutoFit/>
              </a:bodyPr>
              <a:lstStyle>
                <a:defPPr>
                  <a:defRPr lang="de-DE"/>
                </a:defPPr>
                <a:lvl1pPr algn="ctr">
                  <a:buClr>
                    <a:schemeClr val="accent6"/>
                  </a:buClr>
                  <a:buSzPct val="140000"/>
                  <a:defRPr sz="1200">
                    <a:ea typeface="DIN-Regular" panose="020B0500010101010101" pitchFamily="34" charset="0"/>
                  </a:defRPr>
                </a:lvl1pPr>
              </a:lstStyle>
              <a:p>
                <a:r>
                  <a:rPr lang="de-DE"/>
                  <a:t>Karlsruhe</a:t>
                </a:r>
              </a:p>
            </p:txBody>
          </p:sp>
          <p:sp>
            <p:nvSpPr>
              <p:cNvPr id="52" name="Ellipse 51">
                <a:extLst>
                  <a:ext uri="{FF2B5EF4-FFF2-40B4-BE49-F238E27FC236}">
                    <a16:creationId xmlns:a16="http://schemas.microsoft.com/office/drawing/2014/main" id="{CC24BB22-D9A3-2069-C98D-4D36EC352F71}"/>
                  </a:ext>
                </a:extLst>
              </p:cNvPr>
              <p:cNvSpPr/>
              <p:nvPr/>
            </p:nvSpPr>
            <p:spPr bwMode="gray">
              <a:xfrm>
                <a:off x="10647681" y="6089282"/>
                <a:ext cx="84365" cy="84365"/>
              </a:xfrm>
              <a:prstGeom prst="ellips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/>
              <a:lstStyle/>
              <a:p>
                <a:pPr algn="ctr"/>
                <a:endParaRPr lang="de-DE" sz="160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4DC35A9B-C41F-C616-B0AF-5BFEE3562171}"/>
              </a:ext>
            </a:extLst>
          </p:cNvPr>
          <p:cNvGrpSpPr/>
          <p:nvPr/>
        </p:nvGrpSpPr>
        <p:grpSpPr>
          <a:xfrm>
            <a:off x="9007664" y="4184812"/>
            <a:ext cx="1120336" cy="300365"/>
            <a:chOff x="10128000" y="5873282"/>
            <a:chExt cx="1120336" cy="300365"/>
          </a:xfrm>
        </p:grpSpPr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99358F95-16A0-DF1B-112A-FF837FFA741F}"/>
                </a:ext>
              </a:extLst>
            </p:cNvPr>
            <p:cNvSpPr txBox="1"/>
            <p:nvPr/>
          </p:nvSpPr>
          <p:spPr bwMode="gray">
            <a:xfrm>
              <a:off x="10128000" y="5873282"/>
              <a:ext cx="1120336" cy="2210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36000" rtlCol="0" anchor="b" anchorCtr="0">
              <a:spAutoFit/>
            </a:bodyPr>
            <a:lstStyle>
              <a:defPPr>
                <a:defRPr lang="de-DE"/>
              </a:defPPr>
              <a:lvl1pPr algn="ctr">
                <a:buClr>
                  <a:schemeClr val="accent6"/>
                </a:buClr>
                <a:buSzPct val="140000"/>
                <a:defRPr sz="1200">
                  <a:ea typeface="DIN-Regular" panose="020B0500010101010101" pitchFamily="34" charset="0"/>
                </a:defRPr>
              </a:lvl1pPr>
            </a:lstStyle>
            <a:p>
              <a:r>
                <a:rPr lang="de-DE"/>
                <a:t>Stuttgart</a:t>
              </a:r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9ADC130F-F69D-A08C-7317-D8751F7514E8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E7A2BFAD-1B08-F2EE-9756-ABBD9A3138C1}"/>
              </a:ext>
            </a:extLst>
          </p:cNvPr>
          <p:cNvGrpSpPr/>
          <p:nvPr/>
        </p:nvGrpSpPr>
        <p:grpSpPr>
          <a:xfrm>
            <a:off x="8863664" y="4472812"/>
            <a:ext cx="1120336" cy="316326"/>
            <a:chOff x="10128000" y="6089282"/>
            <a:chExt cx="1120336" cy="316326"/>
          </a:xfrm>
        </p:grpSpPr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4BB00ADC-FB95-7E31-6830-204A5125A7BE}"/>
                </a:ext>
              </a:extLst>
            </p:cNvPr>
            <p:cNvSpPr txBox="1"/>
            <p:nvPr/>
          </p:nvSpPr>
          <p:spPr bwMode="gray">
            <a:xfrm>
              <a:off x="10128000" y="6148239"/>
              <a:ext cx="1120336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36000" rIns="0" bIns="36000" rtlCol="0" anchor="t" anchorCtr="0">
              <a:spAutoFit/>
            </a:bodyPr>
            <a:lstStyle/>
            <a:p>
              <a:pPr algn="ctr">
                <a:buClr>
                  <a:schemeClr val="accent6"/>
                </a:buClr>
                <a:buSzPct val="140000"/>
              </a:pPr>
              <a:r>
                <a:rPr lang="de-DE" sz="1200">
                  <a:ea typeface="DIN-Regular" panose="020B0500010101010101" pitchFamily="34" charset="0"/>
                </a:rPr>
                <a:t>Böblingen</a:t>
              </a:r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96CDCD5F-AA3B-B365-F07D-4E053281F471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83BA2DF8-EC6E-AC9D-AE3F-B76148B7467F}"/>
              </a:ext>
            </a:extLst>
          </p:cNvPr>
          <p:cNvGrpSpPr/>
          <p:nvPr/>
        </p:nvGrpSpPr>
        <p:grpSpPr>
          <a:xfrm>
            <a:off x="9624000" y="4976812"/>
            <a:ext cx="1120336" cy="300365"/>
            <a:chOff x="10128000" y="5873282"/>
            <a:chExt cx="1120336" cy="300365"/>
          </a:xfrm>
        </p:grpSpPr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05ADF4D0-4DDE-280D-77EF-78E2B25DA25A}"/>
                </a:ext>
              </a:extLst>
            </p:cNvPr>
            <p:cNvSpPr txBox="1"/>
            <p:nvPr/>
          </p:nvSpPr>
          <p:spPr bwMode="gray">
            <a:xfrm>
              <a:off x="10128000" y="5873282"/>
              <a:ext cx="1120336" cy="2210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36000" rtlCol="0" anchor="b" anchorCtr="0">
              <a:spAutoFit/>
            </a:bodyPr>
            <a:lstStyle>
              <a:defPPr>
                <a:defRPr lang="de-DE"/>
              </a:defPPr>
              <a:lvl1pPr algn="ctr">
                <a:buClr>
                  <a:schemeClr val="accent6"/>
                </a:buClr>
                <a:buSzPct val="140000"/>
                <a:defRPr sz="1200">
                  <a:ea typeface="DIN-Regular" panose="020B0500010101010101" pitchFamily="34" charset="0"/>
                </a:defRPr>
              </a:lvl1pPr>
            </a:lstStyle>
            <a:p>
              <a:r>
                <a:rPr lang="de-DE"/>
                <a:t>Biberach</a:t>
              </a:r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B06CA588-F7E0-AAA1-252F-8C9368C8E048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794696B1-1FE5-0A6E-72F0-2F6829DB0AF4}"/>
              </a:ext>
            </a:extLst>
          </p:cNvPr>
          <p:cNvCxnSpPr/>
          <p:nvPr/>
        </p:nvCxnSpPr>
        <p:spPr>
          <a:xfrm>
            <a:off x="7248000" y="1881188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Grafik 73">
            <a:extLst>
              <a:ext uri="{FF2B5EF4-FFF2-40B4-BE49-F238E27FC236}">
                <a16:creationId xmlns:a16="http://schemas.microsoft.com/office/drawing/2014/main" id="{579E97F2-DDC0-E0EA-73FF-EB975E07D6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22267" y="3717000"/>
            <a:ext cx="6144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3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750B177-FEF6-C6C5-84CC-25C6A2ECD39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4" t="4806" r="513" b="1899"/>
          <a:stretch/>
        </p:blipFill>
        <p:spPr>
          <a:xfrm>
            <a:off x="6704206" y="1124744"/>
            <a:ext cx="4720386" cy="4899623"/>
          </a:xfrm>
          <a:prstGeom prst="rect">
            <a:avLst/>
          </a:prstGeom>
        </p:spPr>
      </p:pic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8D647CC0-9A37-9E5F-C072-447A39869468}"/>
              </a:ext>
            </a:extLst>
          </p:cNvPr>
          <p:cNvSpPr/>
          <p:nvPr/>
        </p:nvSpPr>
        <p:spPr>
          <a:xfrm>
            <a:off x="-1" y="-1"/>
            <a:ext cx="7212124" cy="6858002"/>
          </a:xfrm>
          <a:custGeom>
            <a:avLst/>
            <a:gdLst>
              <a:gd name="connsiteX0" fmla="*/ 0 w 7212124"/>
              <a:gd name="connsiteY0" fmla="*/ 0 h 6858002"/>
              <a:gd name="connsiteX1" fmla="*/ 3359696 w 7212124"/>
              <a:gd name="connsiteY1" fmla="*/ 0 h 6858002"/>
              <a:gd name="connsiteX2" fmla="*/ 3359696 w 7212124"/>
              <a:gd name="connsiteY2" fmla="*/ 3 h 6858002"/>
              <a:gd name="connsiteX3" fmla="*/ 5110795 w 7212124"/>
              <a:gd name="connsiteY3" fmla="*/ 3 h 6858002"/>
              <a:gd name="connsiteX4" fmla="*/ 6765476 w 7212124"/>
              <a:gd name="connsiteY4" fmla="*/ 1654685 h 6858002"/>
              <a:gd name="connsiteX5" fmla="*/ 7212124 w 7212124"/>
              <a:gd name="connsiteY5" fmla="*/ 2732972 h 6858002"/>
              <a:gd name="connsiteX6" fmla="*/ 6765142 w 7212124"/>
              <a:gd name="connsiteY6" fmla="*/ 3811591 h 6858002"/>
              <a:gd name="connsiteX7" fmla="*/ 3718732 w 7212124"/>
              <a:gd name="connsiteY7" fmla="*/ 6858002 h 6858002"/>
              <a:gd name="connsiteX8" fmla="*/ 123555 w 7212124"/>
              <a:gd name="connsiteY8" fmla="*/ 6858002 h 6858002"/>
              <a:gd name="connsiteX9" fmla="*/ 123557 w 7212124"/>
              <a:gd name="connsiteY9" fmla="*/ 6858000 h 6858002"/>
              <a:gd name="connsiteX10" fmla="*/ 0 w 7212124"/>
              <a:gd name="connsiteY10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212124" h="6858002">
                <a:moveTo>
                  <a:pt x="0" y="0"/>
                </a:moveTo>
                <a:lnTo>
                  <a:pt x="3359696" y="0"/>
                </a:lnTo>
                <a:lnTo>
                  <a:pt x="3359696" y="3"/>
                </a:lnTo>
                <a:lnTo>
                  <a:pt x="5110795" y="3"/>
                </a:lnTo>
                <a:lnTo>
                  <a:pt x="6765476" y="1654685"/>
                </a:lnTo>
                <a:cubicBezTo>
                  <a:pt x="7053465" y="1942672"/>
                  <a:pt x="7212124" y="2325656"/>
                  <a:pt x="7212124" y="2732972"/>
                </a:cubicBezTo>
                <a:cubicBezTo>
                  <a:pt x="7212124" y="3140287"/>
                  <a:pt x="7053465" y="3523603"/>
                  <a:pt x="6765142" y="3811591"/>
                </a:cubicBezTo>
                <a:lnTo>
                  <a:pt x="3718732" y="6858002"/>
                </a:lnTo>
                <a:lnTo>
                  <a:pt x="123555" y="6858002"/>
                </a:lnTo>
                <a:lnTo>
                  <a:pt x="12355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3EFEC"/>
          </a:solidFill>
          <a:ln w="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e-DE" sz="160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8598E33D-1878-0F89-990F-DFDF4C3E5C80}"/>
              </a:ext>
            </a:extLst>
          </p:cNvPr>
          <p:cNvSpPr/>
          <p:nvPr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0 w 4331804"/>
              <a:gd name="connsiteY0" fmla="*/ 6319154 h 6319154"/>
              <a:gd name="connsiteX1" fmla="*/ 8848 w 4331804"/>
              <a:gd name="connsiteY1" fmla="*/ 6319154 h 6319154"/>
              <a:gd name="connsiteX2" fmla="*/ 1559496 w 4331804"/>
              <a:gd name="connsiteY2" fmla="*/ 6319154 h 6319154"/>
              <a:gd name="connsiteX3" fmla="*/ 3604025 w 4331804"/>
              <a:gd name="connsiteY3" fmla="*/ 6319154 h 6319154"/>
              <a:gd name="connsiteX4" fmla="*/ 3884822 w 4331804"/>
              <a:gd name="connsiteY4" fmla="*/ 6038357 h 6319154"/>
              <a:gd name="connsiteX5" fmla="*/ 4331804 w 4331804"/>
              <a:gd name="connsiteY5" fmla="*/ 4959736 h 6319154"/>
              <a:gd name="connsiteX6" fmla="*/ 3885156 w 4331804"/>
              <a:gd name="connsiteY6" fmla="*/ 3881449 h 6319154"/>
              <a:gd name="connsiteX7" fmla="*/ 860398 w 4331804"/>
              <a:gd name="connsiteY7" fmla="*/ 856691 h 6319154"/>
              <a:gd name="connsiteX8" fmla="*/ 856691 w 4331804"/>
              <a:gd name="connsiteY8" fmla="*/ 856691 h 6319154"/>
              <a:gd name="connsiteX9" fmla="*/ 0 w 4331804"/>
              <a:gd name="connsiteY9" fmla="*/ 0 h 6319154"/>
              <a:gd name="connsiteX10" fmla="*/ 0 w 4331804"/>
              <a:gd name="connsiteY10" fmla="*/ 3034616 h 6319154"/>
              <a:gd name="connsiteX11" fmla="*/ 0 w 4331804"/>
              <a:gd name="connsiteY11" fmla="*/ 3590805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331804" h="6319154">
                <a:moveTo>
                  <a:pt x="0" y="6319154"/>
                </a:moveTo>
                <a:lnTo>
                  <a:pt x="8848" y="6319154"/>
                </a:lnTo>
                <a:lnTo>
                  <a:pt x="1559496" y="6319154"/>
                </a:ln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034616"/>
                </a:lnTo>
                <a:lnTo>
                  <a:pt x="0" y="3590805"/>
                </a:lnTo>
                <a:close/>
              </a:path>
            </a:pathLst>
          </a:custGeom>
          <a:solidFill>
            <a:srgbClr val="F3EFEC"/>
          </a:solidFill>
          <a:ln w="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BB59D7-8583-EB15-6987-471210FC2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73221FA-B58A-90A3-2C91-A64332998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Aus der Region für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die Region.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D86FFABF-2D92-4930-E0C9-E0E038EE206E}"/>
              </a:ext>
            </a:extLst>
          </p:cNvPr>
          <p:cNvGrpSpPr/>
          <p:nvPr/>
        </p:nvGrpSpPr>
        <p:grpSpPr>
          <a:xfrm>
            <a:off x="407987" y="3611344"/>
            <a:ext cx="4210392" cy="2088579"/>
            <a:chOff x="3991273" y="3573016"/>
            <a:chExt cx="4210392" cy="2088579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6F598200-D44E-70C8-80BA-E59C96EEB89E}"/>
                </a:ext>
              </a:extLst>
            </p:cNvPr>
            <p:cNvGrpSpPr/>
            <p:nvPr/>
          </p:nvGrpSpPr>
          <p:grpSpPr>
            <a:xfrm>
              <a:off x="4007769" y="3573016"/>
              <a:ext cx="2122778" cy="1277642"/>
              <a:chOff x="407987" y="2131144"/>
              <a:chExt cx="3007221" cy="1277642"/>
            </a:xfrm>
          </p:grpSpPr>
          <p:sp>
            <p:nvSpPr>
              <p:cNvPr id="10" name="object 31">
                <a:extLst>
                  <a:ext uri="{FF2B5EF4-FFF2-40B4-BE49-F238E27FC236}">
                    <a16:creationId xmlns:a16="http://schemas.microsoft.com/office/drawing/2014/main" id="{E9B71E48-A773-020E-3BD3-D621AEDAF6D1}"/>
                  </a:ext>
                </a:extLst>
              </p:cNvPr>
              <p:cNvSpPr txBox="1"/>
              <p:nvPr/>
            </p:nvSpPr>
            <p:spPr>
              <a:xfrm>
                <a:off x="407988" y="2131144"/>
                <a:ext cx="2962363" cy="844462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5400" spc="-25">
                    <a:solidFill>
                      <a:schemeClr val="bg2"/>
                    </a:solidFill>
                    <a:latin typeface="+mj-lt"/>
                    <a:cs typeface="DIN Offc Pro"/>
                  </a:rPr>
                  <a:t>411</a:t>
                </a:r>
                <a:endParaRPr lang="de-DE">
                  <a:solidFill>
                    <a:schemeClr val="bg2"/>
                  </a:solidFill>
                  <a:cs typeface="DIN Offc Pro"/>
                </a:endParaRPr>
              </a:p>
            </p:txBody>
          </p:sp>
          <p:sp>
            <p:nvSpPr>
              <p:cNvPr id="11" name="object 32">
                <a:extLst>
                  <a:ext uri="{FF2B5EF4-FFF2-40B4-BE49-F238E27FC236}">
                    <a16:creationId xmlns:a16="http://schemas.microsoft.com/office/drawing/2014/main" id="{A66D8A32-20A8-7CB8-C48D-36D569BDE004}"/>
                  </a:ext>
                </a:extLst>
              </p:cNvPr>
              <p:cNvSpPr txBox="1"/>
              <p:nvPr/>
            </p:nvSpPr>
            <p:spPr>
              <a:xfrm>
                <a:off x="407987" y="2903519"/>
                <a:ext cx="3007221" cy="50526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>
                    <a:solidFill>
                      <a:srgbClr val="3A3A3A"/>
                    </a:solidFill>
                    <a:cs typeface="DIN Offc Pro"/>
                  </a:rPr>
                  <a:t>Kommunen</a:t>
                </a:r>
                <a:br>
                  <a:rPr lang="de-DE" sz="1600">
                    <a:solidFill>
                      <a:srgbClr val="3A3A3A"/>
                    </a:solidFill>
                    <a:cs typeface="DIN Offc Pro"/>
                  </a:rPr>
                </a:br>
                <a:r>
                  <a:rPr lang="de-DE" sz="1600">
                    <a:solidFill>
                      <a:srgbClr val="3A3A3A"/>
                    </a:solidFill>
                    <a:cs typeface="DIN Offc Pro"/>
                  </a:rPr>
                  <a:t>erschlossen</a:t>
                </a:r>
                <a:endParaRPr lang="de-DE" sz="2000" b="1">
                  <a:cs typeface="DIN Offc Pro"/>
                </a:endParaRP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A2BC8252-E6BE-B015-C076-283A3B63B471}"/>
                </a:ext>
              </a:extLst>
            </p:cNvPr>
            <p:cNvGrpSpPr/>
            <p:nvPr/>
          </p:nvGrpSpPr>
          <p:grpSpPr>
            <a:xfrm>
              <a:off x="6078887" y="3573016"/>
              <a:ext cx="2122778" cy="1277642"/>
              <a:chOff x="24646" y="2131144"/>
              <a:chExt cx="3007221" cy="1277642"/>
            </a:xfrm>
          </p:grpSpPr>
          <p:sp>
            <p:nvSpPr>
              <p:cNvPr id="13" name="object 31">
                <a:extLst>
                  <a:ext uri="{FF2B5EF4-FFF2-40B4-BE49-F238E27FC236}">
                    <a16:creationId xmlns:a16="http://schemas.microsoft.com/office/drawing/2014/main" id="{04003A14-BB92-F9E7-7681-F4932F6A7624}"/>
                  </a:ext>
                </a:extLst>
              </p:cNvPr>
              <p:cNvSpPr txBox="1"/>
              <p:nvPr/>
            </p:nvSpPr>
            <p:spPr>
              <a:xfrm>
                <a:off x="24647" y="2131144"/>
                <a:ext cx="2962363" cy="844462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5400" spc="-25">
                    <a:solidFill>
                      <a:schemeClr val="tx2"/>
                    </a:solidFill>
                    <a:latin typeface="+mj-lt"/>
                    <a:cs typeface="DIN Offc Pro"/>
                  </a:rPr>
                  <a:t>33</a:t>
                </a:r>
                <a:endParaRPr lang="de-DE">
                  <a:solidFill>
                    <a:schemeClr val="tx2"/>
                  </a:solidFill>
                  <a:cs typeface="DIN Offc Pro"/>
                </a:endParaRPr>
              </a:p>
            </p:txBody>
          </p:sp>
          <p:sp>
            <p:nvSpPr>
              <p:cNvPr id="14" name="object 32">
                <a:extLst>
                  <a:ext uri="{FF2B5EF4-FFF2-40B4-BE49-F238E27FC236}">
                    <a16:creationId xmlns:a16="http://schemas.microsoft.com/office/drawing/2014/main" id="{E74386C7-C122-4A80-A23A-66F0C0F3C4F7}"/>
                  </a:ext>
                </a:extLst>
              </p:cNvPr>
              <p:cNvSpPr txBox="1"/>
              <p:nvPr/>
            </p:nvSpPr>
            <p:spPr>
              <a:xfrm>
                <a:off x="24646" y="2903519"/>
                <a:ext cx="3007221" cy="50526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>
                    <a:cs typeface="DIN Offc Pro"/>
                  </a:rPr>
                  <a:t>Kommunen</a:t>
                </a:r>
                <a:br>
                  <a:rPr lang="de-DE" sz="1600" spc="225">
                    <a:cs typeface="DIN Offc Pro"/>
                  </a:rPr>
                </a:br>
                <a:r>
                  <a:rPr lang="de-DE" sz="1600">
                    <a:cs typeface="DIN Offc Pro"/>
                  </a:rPr>
                  <a:t>im</a:t>
                </a:r>
                <a:r>
                  <a:rPr lang="de-DE" sz="1600" spc="65">
                    <a:cs typeface="DIN Offc Pro"/>
                  </a:rPr>
                  <a:t> </a:t>
                </a:r>
                <a:r>
                  <a:rPr lang="de-DE" sz="1600" spc="-10">
                    <a:cs typeface="DIN Offc Pro"/>
                  </a:rPr>
                  <a:t>Ausbau</a:t>
                </a:r>
                <a:endParaRPr lang="de-DE" sz="2000" b="1">
                  <a:cs typeface="DIN Offc Pro"/>
                </a:endParaRPr>
              </a:p>
            </p:txBody>
          </p:sp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4B0E6190-B005-A376-3768-9962F677A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78886" y="5013176"/>
              <a:ext cx="648419" cy="648419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25081A15-4731-708A-2EB3-305CE57451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91273" y="5085184"/>
              <a:ext cx="720080" cy="576064"/>
            </a:xfrm>
            <a:prstGeom prst="rect">
              <a:avLst/>
            </a:prstGeom>
          </p:spPr>
        </p:pic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58FB9A2A-0FF7-460F-01D8-D25B58729D0B}"/>
                </a:ext>
              </a:extLst>
            </p:cNvPr>
            <p:cNvCxnSpPr>
              <a:cxnSpLocks/>
            </p:cNvCxnSpPr>
            <p:nvPr/>
          </p:nvCxnSpPr>
          <p:spPr>
            <a:xfrm>
              <a:off x="5646838" y="3753396"/>
              <a:ext cx="0" cy="190785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14">
            <a:extLst>
              <a:ext uri="{FF2B5EF4-FFF2-40B4-BE49-F238E27FC236}">
                <a16:creationId xmlns:a16="http://schemas.microsoft.com/office/drawing/2014/main" id="{C8469843-8925-833D-81DC-57E4D481E7C1}"/>
              </a:ext>
            </a:extLst>
          </p:cNvPr>
          <p:cNvSpPr/>
          <p:nvPr/>
        </p:nvSpPr>
        <p:spPr bwMode="gray">
          <a:xfrm>
            <a:off x="407987" y="2852936"/>
            <a:ext cx="640809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600" b="1">
                <a:cs typeface="EnBW DIN Pro" panose="020B0504020101020102" pitchFamily="34" charset="0"/>
              </a:rPr>
              <a:t>der Kommunen Baden-Württembergs und im angrenzenden Bayern </a:t>
            </a:r>
            <a:r>
              <a:rPr lang="de-DE" sz="1600">
                <a:cs typeface="EnBW DIN Pro" panose="020B0504020101020102" pitchFamily="34" charset="0"/>
              </a:rPr>
              <a:t>erfolgreich mit gigabitfähiger Glasfasertechnologie aktiv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E7C20DD-BD0A-A844-BF0C-9A6D89E36610}"/>
              </a:ext>
            </a:extLst>
          </p:cNvPr>
          <p:cNvSpPr txBox="1"/>
          <p:nvPr/>
        </p:nvSpPr>
        <p:spPr>
          <a:xfrm>
            <a:off x="407986" y="2350763"/>
            <a:ext cx="3744000" cy="615553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r>
              <a:rPr lang="de-DE" sz="1600">
                <a:cs typeface="EnBW DIN Pro" panose="020B0504020101020102" pitchFamily="34" charset="0"/>
              </a:rPr>
              <a:t>In</a:t>
            </a:r>
            <a:r>
              <a:rPr kumimoji="0" lang="de-DE" sz="9600" b="0" i="0" u="none" strike="noStrike" kern="1200" cap="none" spc="-25" normalizeH="0" baseline="0" noProof="0">
                <a:ln>
                  <a:noFill/>
                </a:ln>
                <a:solidFill>
                  <a:srgbClr val="FE8F11"/>
                </a:solidFill>
                <a:effectLst/>
                <a:uLnTx/>
                <a:uFillTx/>
                <a:latin typeface="Mark OT Medium"/>
                <a:ea typeface="+mn-ea"/>
                <a:cs typeface="DIN Offc Pro"/>
              </a:rPr>
              <a:t> 40 %</a:t>
            </a:r>
            <a:endParaRPr lang="de-DE" sz="4000"/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F879DE29-6165-A11C-D435-096A55EA8727}"/>
              </a:ext>
            </a:extLst>
          </p:cNvPr>
          <p:cNvSpPr/>
          <p:nvPr/>
        </p:nvSpPr>
        <p:spPr>
          <a:xfrm flipH="1">
            <a:off x="9756360" y="5250918"/>
            <a:ext cx="2435640" cy="1607082"/>
          </a:xfrm>
          <a:custGeom>
            <a:avLst/>
            <a:gdLst>
              <a:gd name="connsiteX0" fmla="*/ 723562 w 2435640"/>
              <a:gd name="connsiteY0" fmla="*/ 0 h 1607082"/>
              <a:gd name="connsiteX1" fmla="*/ 543903 w 2435640"/>
              <a:gd name="connsiteY1" fmla="*/ 74330 h 1607082"/>
              <a:gd name="connsiteX2" fmla="*/ 0 w 2435640"/>
              <a:gd name="connsiteY2" fmla="*/ 618233 h 1607082"/>
              <a:gd name="connsiteX3" fmla="*/ 0 w 2435640"/>
              <a:gd name="connsiteY3" fmla="*/ 1217208 h 1607082"/>
              <a:gd name="connsiteX4" fmla="*/ 723896 w 2435640"/>
              <a:gd name="connsiteY4" fmla="*/ 493312 h 1607082"/>
              <a:gd name="connsiteX5" fmla="*/ 1837665 w 2435640"/>
              <a:gd name="connsiteY5" fmla="*/ 1607082 h 1607082"/>
              <a:gd name="connsiteX6" fmla="*/ 2435640 w 2435640"/>
              <a:gd name="connsiteY6" fmla="*/ 1607082 h 1607082"/>
              <a:gd name="connsiteX7" fmla="*/ 903222 w 2435640"/>
              <a:gd name="connsiteY7" fmla="*/ 74664 h 1607082"/>
              <a:gd name="connsiteX8" fmla="*/ 723562 w 2435640"/>
              <a:gd name="connsiteY8" fmla="*/ 0 h 1607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5640" h="1607082">
                <a:moveTo>
                  <a:pt x="723562" y="0"/>
                </a:moveTo>
                <a:cubicBezTo>
                  <a:pt x="655897" y="0"/>
                  <a:pt x="591901" y="26332"/>
                  <a:pt x="543903" y="74330"/>
                </a:cubicBezTo>
                <a:lnTo>
                  <a:pt x="0" y="618233"/>
                </a:lnTo>
                <a:lnTo>
                  <a:pt x="0" y="1217208"/>
                </a:lnTo>
                <a:lnTo>
                  <a:pt x="723896" y="493312"/>
                </a:lnTo>
                <a:lnTo>
                  <a:pt x="1837665" y="1607082"/>
                </a:lnTo>
                <a:lnTo>
                  <a:pt x="2435640" y="1607082"/>
                </a:lnTo>
                <a:lnTo>
                  <a:pt x="903222" y="74664"/>
                </a:lnTo>
                <a:cubicBezTo>
                  <a:pt x="855224" y="26332"/>
                  <a:pt x="791225" y="0"/>
                  <a:pt x="723562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2466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85C04F1-324F-C8BD-E0A3-89249A387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6069012" cy="1225104"/>
          </a:xfrm>
        </p:spPr>
        <p:txBody>
          <a:bodyPr/>
          <a:lstStyle/>
          <a:p>
            <a:r>
              <a:rPr lang="de-DE" dirty="0"/>
              <a:t>Breitbandausbau</a:t>
            </a:r>
            <a:br>
              <a:rPr lang="de-DE" dirty="0"/>
            </a:br>
            <a:r>
              <a:rPr lang="de-DE" dirty="0"/>
              <a:t>in der Reg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6A2E8C-D1F8-82CE-E8F7-ED1C262038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27738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133" dirty="0">
              <a:latin typeface="EnBW DIN Pro"/>
              <a:cs typeface="+mj-cs"/>
              <a:sym typeface="EnBW DIN Pro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191346" y="1460782"/>
            <a:ext cx="7196657" cy="5061212"/>
            <a:chOff x="143509" y="1095586"/>
            <a:chExt cx="5397493" cy="3795909"/>
          </a:xfrm>
        </p:grpSpPr>
        <p:pic>
          <p:nvPicPr>
            <p:cNvPr id="71732" name="Picture 5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12000"/>
                      </a14:imgEffect>
                      <a14:imgEffect>
                        <a14:brightnessContrast contras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509" y="1095586"/>
              <a:ext cx="5397493" cy="3795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5" name="Gerade Verbindung 4"/>
            <p:cNvCxnSpPr/>
            <p:nvPr/>
          </p:nvCxnSpPr>
          <p:spPr bwMode="auto">
            <a:xfrm>
              <a:off x="3335009" y="2595586"/>
              <a:ext cx="288000" cy="108012"/>
            </a:xfrm>
            <a:prstGeom prst="line">
              <a:avLst/>
            </a:prstGeom>
            <a:solidFill>
              <a:srgbClr val="F0F0F0"/>
            </a:solidFill>
            <a:ln w="1905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68193" y="645857"/>
            <a:ext cx="9443167" cy="328295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Wir bringen Sie ans Highspeed-Netz!</a:t>
            </a:r>
          </a:p>
        </p:txBody>
      </p:sp>
      <p:sp>
        <p:nvSpPr>
          <p:cNvPr id="15" name="Rechteck: abgerundete Ecken 32">
            <a:extLst>
              <a:ext uri="{FF2B5EF4-FFF2-40B4-BE49-F238E27FC236}">
                <a16:creationId xmlns:a16="http://schemas.microsoft.com/office/drawing/2014/main" id="{1A011E41-DA06-43EB-81FF-4ADF4E686A77}"/>
              </a:ext>
            </a:extLst>
          </p:cNvPr>
          <p:cNvSpPr/>
          <p:nvPr/>
        </p:nvSpPr>
        <p:spPr bwMode="gray">
          <a:xfrm>
            <a:off x="7673513" y="4821040"/>
            <a:ext cx="3703073" cy="1771345"/>
          </a:xfrm>
          <a:prstGeom prst="roundRect">
            <a:avLst>
              <a:gd name="adj" fmla="val 0"/>
            </a:avLst>
          </a:prstGeom>
          <a:solidFill>
            <a:schemeClr val="bg1">
              <a:alpha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38383" tIns="190721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defTabSz="1210894" fontAlgn="base">
              <a:spcBef>
                <a:spcPts val="800"/>
              </a:spcBef>
              <a:buClr>
                <a:srgbClr val="FF9900"/>
              </a:buClr>
              <a:buSzPct val="100000"/>
            </a:pPr>
            <a:r>
              <a:rPr lang="de-DE" sz="1600" b="1" dirty="0">
                <a:solidFill>
                  <a:schemeClr val="tx2"/>
                </a:solidFill>
              </a:rPr>
              <a:t>Ausbauvariante FTTC</a:t>
            </a:r>
            <a:br>
              <a:rPr lang="de-DE" sz="1600" b="1" dirty="0">
                <a:solidFill>
                  <a:schemeClr val="tx2"/>
                </a:solidFill>
              </a:rPr>
            </a:br>
            <a:r>
              <a:rPr lang="de-DE" sz="1600" b="1" dirty="0">
                <a:solidFill>
                  <a:schemeClr val="tx2"/>
                </a:solidFill>
              </a:rPr>
              <a:t>Datenrate begrenzt</a:t>
            </a:r>
          </a:p>
          <a:p>
            <a:pPr marL="0" lvl="2" fontAlgn="base">
              <a:spcBef>
                <a:spcPts val="800"/>
              </a:spcBef>
              <a:buClr>
                <a:schemeClr val="accent6"/>
              </a:buClr>
              <a:buSzPct val="140000"/>
            </a:pPr>
            <a:r>
              <a:rPr lang="de-DE" altLang="de-DE" sz="1200" dirty="0">
                <a:cs typeface="EnBW DIN Pro" pitchFamily="34" charset="0"/>
              </a:rPr>
              <a:t>(Fiber to the Curb)</a:t>
            </a:r>
            <a:br>
              <a:rPr lang="de-DE" altLang="de-DE" sz="1200" dirty="0">
                <a:cs typeface="EnBW DIN Pro" pitchFamily="34" charset="0"/>
              </a:rPr>
            </a:br>
            <a:r>
              <a:rPr lang="de-DE" altLang="de-DE" sz="1200" dirty="0">
                <a:cs typeface="EnBW DIN Pro" pitchFamily="34" charset="0"/>
              </a:rPr>
              <a:t>Glasfaserkabel bis zum Verteiler (KVz)</a:t>
            </a:r>
            <a:br>
              <a:rPr lang="de-DE" altLang="de-DE" sz="1200" dirty="0">
                <a:cs typeface="EnBW DIN Pro" pitchFamily="34" charset="0"/>
              </a:rPr>
            </a:br>
            <a:br>
              <a:rPr lang="de-DE" sz="1200" dirty="0">
                <a:cs typeface="EnBW DIN Pro" pitchFamily="34" charset="0"/>
              </a:rPr>
            </a:br>
            <a:r>
              <a:rPr lang="de-DE" sz="1400" b="1" kern="0" dirty="0">
                <a:solidFill>
                  <a:schemeClr val="tx2"/>
                </a:solidFill>
              </a:rPr>
              <a:t>Internet-Bandbreiten: max. 30-150 Mbit/s</a:t>
            </a:r>
            <a:br>
              <a:rPr lang="de-DE" altLang="de-DE" sz="1200" dirty="0">
                <a:cs typeface="EnBW DIN Pro" pitchFamily="34" charset="0"/>
              </a:rPr>
            </a:br>
            <a:endParaRPr lang="de-DE" altLang="de-DE" sz="1200" dirty="0">
              <a:cs typeface="EnBW DIN Pro" pitchFamily="34" charset="0"/>
            </a:endParaRPr>
          </a:p>
        </p:txBody>
      </p:sp>
      <p:cxnSp>
        <p:nvCxnSpPr>
          <p:cNvPr id="13" name="Gerader Verbinder 33">
            <a:extLst>
              <a:ext uri="{FF2B5EF4-FFF2-40B4-BE49-F238E27FC236}">
                <a16:creationId xmlns:a16="http://schemas.microsoft.com/office/drawing/2014/main" id="{6B11A5EE-ABC8-49D0-8CA0-E601FBF8D71D}"/>
              </a:ext>
            </a:extLst>
          </p:cNvPr>
          <p:cNvCxnSpPr>
            <a:cxnSpLocks/>
            <a:endCxn id="20" idx="1"/>
          </p:cNvCxnSpPr>
          <p:nvPr/>
        </p:nvCxnSpPr>
        <p:spPr bwMode="gray">
          <a:xfrm>
            <a:off x="3838669" y="2379282"/>
            <a:ext cx="3834847" cy="704985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r Verbinder 33">
            <a:extLst>
              <a:ext uri="{FF2B5EF4-FFF2-40B4-BE49-F238E27FC236}">
                <a16:creationId xmlns:a16="http://schemas.microsoft.com/office/drawing/2014/main" id="{6B11A5EE-ABC8-49D0-8CA0-E601FBF8D71D}"/>
              </a:ext>
            </a:extLst>
          </p:cNvPr>
          <p:cNvCxnSpPr>
            <a:cxnSpLocks/>
            <a:endCxn id="15" idx="1"/>
          </p:cNvCxnSpPr>
          <p:nvPr/>
        </p:nvCxnSpPr>
        <p:spPr bwMode="gray">
          <a:xfrm>
            <a:off x="6301212" y="3291384"/>
            <a:ext cx="1372301" cy="2415329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Rechteck: abgerundete Ecken 32">
            <a:extLst>
              <a:ext uri="{FF2B5EF4-FFF2-40B4-BE49-F238E27FC236}">
                <a16:creationId xmlns:a16="http://schemas.microsoft.com/office/drawing/2014/main" id="{1A011E41-DA06-43EB-81FF-4ADF4E686A77}"/>
              </a:ext>
            </a:extLst>
          </p:cNvPr>
          <p:cNvSpPr/>
          <p:nvPr/>
        </p:nvSpPr>
        <p:spPr bwMode="gray">
          <a:xfrm>
            <a:off x="7673516" y="1958649"/>
            <a:ext cx="3703073" cy="2251236"/>
          </a:xfrm>
          <a:prstGeom prst="roundRect">
            <a:avLst>
              <a:gd name="adj" fmla="val 0"/>
            </a:avLst>
          </a:prstGeom>
          <a:solidFill>
            <a:schemeClr val="bg1">
              <a:alpha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38383" tIns="190721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defTabSz="1210894" fontAlgn="base">
              <a:spcBef>
                <a:spcPts val="800"/>
              </a:spcBef>
              <a:buClr>
                <a:srgbClr val="FF9900"/>
              </a:buClr>
              <a:buSzPct val="100000"/>
            </a:pPr>
            <a:r>
              <a:rPr lang="de-DE" sz="1600" b="1" dirty="0">
                <a:solidFill>
                  <a:schemeClr val="tx2"/>
                </a:solidFill>
              </a:rPr>
              <a:t>Ausbauvariante FTTB</a:t>
            </a:r>
            <a:br>
              <a:rPr lang="de-DE" sz="1600" b="1" dirty="0">
                <a:solidFill>
                  <a:schemeClr val="tx2"/>
                </a:solidFill>
              </a:rPr>
            </a:br>
            <a:r>
              <a:rPr lang="de-DE" sz="1600" b="1" dirty="0">
                <a:solidFill>
                  <a:schemeClr val="tx2"/>
                </a:solidFill>
              </a:rPr>
              <a:t>Datenrate unbegrenzt</a:t>
            </a:r>
          </a:p>
          <a:p>
            <a:pPr marL="0" lvl="2" fontAlgn="base">
              <a:spcBef>
                <a:spcPts val="800"/>
              </a:spcBef>
              <a:buClr>
                <a:schemeClr val="accent6"/>
              </a:buClr>
              <a:buSzPct val="140000"/>
            </a:pPr>
            <a:r>
              <a:rPr lang="de-DE" altLang="de-DE" sz="1200" dirty="0">
                <a:cs typeface="EnBW DIN Pro" pitchFamily="34" charset="0"/>
              </a:rPr>
              <a:t>(Fiber to the Building)</a:t>
            </a:r>
            <a:br>
              <a:rPr lang="de-DE" altLang="de-DE" sz="1200" dirty="0">
                <a:cs typeface="EnBW DIN Pro" pitchFamily="34" charset="0"/>
              </a:rPr>
            </a:br>
            <a:r>
              <a:rPr lang="de-DE" altLang="de-DE" sz="1200" dirty="0">
                <a:cs typeface="EnBW DIN Pro" pitchFamily="34" charset="0"/>
              </a:rPr>
              <a:t>Glasfaserkabel bis ins Gebäude</a:t>
            </a:r>
            <a:br>
              <a:rPr lang="de-DE" altLang="de-DE" sz="1200" dirty="0">
                <a:cs typeface="EnBW DIN Pro" pitchFamily="34" charset="0"/>
              </a:rPr>
            </a:br>
            <a:br>
              <a:rPr lang="de-DE" altLang="de-DE" sz="1200" dirty="0">
                <a:cs typeface="EnBW DIN Pro" pitchFamily="34" charset="0"/>
              </a:rPr>
            </a:br>
            <a:r>
              <a:rPr lang="de-DE" altLang="de-DE" sz="1400" b="1" kern="0" dirty="0">
                <a:solidFill>
                  <a:srgbClr val="3B3B3B"/>
                </a:solidFill>
              </a:rPr>
              <a:t>Aktuelle Internet-</a:t>
            </a:r>
            <a:r>
              <a:rPr lang="de-DE" sz="1400" b="1" kern="0" dirty="0">
                <a:solidFill>
                  <a:srgbClr val="3B3B3B"/>
                </a:solidFill>
              </a:rPr>
              <a:t>Bandbreiten: </a:t>
            </a:r>
            <a:br>
              <a:rPr lang="de-DE" sz="1333" b="1" kern="0" dirty="0">
                <a:solidFill>
                  <a:srgbClr val="3B3B3B"/>
                </a:solidFill>
              </a:rPr>
            </a:br>
            <a:r>
              <a:rPr lang="de-DE" sz="1400" b="1" dirty="0">
                <a:solidFill>
                  <a:schemeClr val="tx2"/>
                </a:solidFill>
                <a:cs typeface="EnBW DIN Pro" pitchFamily="34" charset="0"/>
              </a:rPr>
              <a:t>Privatkunden </a:t>
            </a:r>
            <a:r>
              <a:rPr lang="de-DE" sz="1400" b="1" dirty="0">
                <a:solidFill>
                  <a:schemeClr val="tx2"/>
                </a:solidFill>
                <a:cs typeface="EnBW DIN Pro" pitchFamily="34" charset="0"/>
                <a:sym typeface="Wingdings" panose="05000000000000000000" pitchFamily="2" charset="2"/>
              </a:rPr>
              <a:t> 1000</a:t>
            </a:r>
            <a:r>
              <a:rPr lang="de-DE" sz="1400" b="1" dirty="0">
                <a:solidFill>
                  <a:schemeClr val="tx2"/>
                </a:solidFill>
                <a:cs typeface="EnBW DIN Pro" pitchFamily="34" charset="0"/>
              </a:rPr>
              <a:t> Mbit/s </a:t>
            </a:r>
            <a:br>
              <a:rPr lang="de-DE" sz="1400" b="1" dirty="0">
                <a:solidFill>
                  <a:schemeClr val="tx2"/>
                </a:solidFill>
                <a:cs typeface="EnBW DIN Pro" pitchFamily="34" charset="0"/>
              </a:rPr>
            </a:br>
            <a:r>
              <a:rPr lang="de-DE" sz="1400" b="1" dirty="0">
                <a:solidFill>
                  <a:schemeClr val="tx2"/>
                </a:solidFill>
                <a:cs typeface="EnBW DIN Pro" pitchFamily="34" charset="0"/>
              </a:rPr>
              <a:t>Geschäftskunden </a:t>
            </a:r>
            <a:r>
              <a:rPr lang="de-DE" sz="1400" b="1" dirty="0">
                <a:solidFill>
                  <a:schemeClr val="tx2"/>
                </a:solidFill>
                <a:cs typeface="EnBW DIN Pro" pitchFamily="34" charset="0"/>
                <a:sym typeface="Wingdings" panose="05000000000000000000" pitchFamily="2" charset="2"/>
              </a:rPr>
              <a:t></a:t>
            </a:r>
            <a:r>
              <a:rPr lang="de-DE" sz="1400" b="1" dirty="0">
                <a:solidFill>
                  <a:schemeClr val="tx2"/>
                </a:solidFill>
                <a:cs typeface="EnBW DIN Pro" pitchFamily="34" charset="0"/>
              </a:rPr>
              <a:t> 10000 Mbit/s</a:t>
            </a:r>
            <a:br>
              <a:rPr lang="de-DE" altLang="de-DE" sz="1200" dirty="0">
                <a:cs typeface="EnBW DIN Pro" pitchFamily="34" charset="0"/>
              </a:rPr>
            </a:br>
            <a:endParaRPr lang="de-DE" altLang="de-DE" sz="1200" dirty="0">
              <a:cs typeface="EnBW DIN Pro" pitchFamily="34" charset="0"/>
            </a:endParaRPr>
          </a:p>
        </p:txBody>
      </p:sp>
      <p:sp>
        <p:nvSpPr>
          <p:cNvPr id="23" name="Textfeld 29">
            <a:extLst>
              <a:ext uri="{FF2B5EF4-FFF2-40B4-BE49-F238E27FC236}">
                <a16:creationId xmlns:a16="http://schemas.microsoft.com/office/drawing/2014/main" id="{C15049FF-D8CF-4BC5-A92B-1085EA344D0B}"/>
              </a:ext>
            </a:extLst>
          </p:cNvPr>
          <p:cNvSpPr txBox="1"/>
          <p:nvPr/>
        </p:nvSpPr>
        <p:spPr bwMode="gray">
          <a:xfrm>
            <a:off x="7388005" y="4308035"/>
            <a:ext cx="3364516" cy="479875"/>
          </a:xfrm>
          <a:prstGeom prst="rect">
            <a:avLst/>
          </a:prstGeom>
          <a:noFill/>
          <a:ln>
            <a:noFill/>
          </a:ln>
        </p:spPr>
        <p:txBody>
          <a:bodyPr wrap="none" lIns="286053" tIns="238383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/>
            <a:r>
              <a:rPr lang="de-DE" sz="1600" b="1" dirty="0">
                <a:solidFill>
                  <a:srgbClr val="FF9900"/>
                </a:solidFill>
                <a:latin typeface="+mn-lt"/>
                <a:cs typeface="+mn-cs"/>
              </a:rPr>
              <a:t>Brückentechnologie:</a:t>
            </a:r>
          </a:p>
        </p:txBody>
      </p:sp>
      <p:sp>
        <p:nvSpPr>
          <p:cNvPr id="24" name="Textfeld 29">
            <a:extLst>
              <a:ext uri="{FF2B5EF4-FFF2-40B4-BE49-F238E27FC236}">
                <a16:creationId xmlns:a16="http://schemas.microsoft.com/office/drawing/2014/main" id="{C15049FF-D8CF-4BC5-A92B-1085EA344D0B}"/>
              </a:ext>
            </a:extLst>
          </p:cNvPr>
          <p:cNvSpPr txBox="1"/>
          <p:nvPr/>
        </p:nvSpPr>
        <p:spPr bwMode="gray">
          <a:xfrm>
            <a:off x="7388005" y="1412777"/>
            <a:ext cx="3364516" cy="479875"/>
          </a:xfrm>
          <a:prstGeom prst="rect">
            <a:avLst/>
          </a:prstGeom>
          <a:noFill/>
          <a:ln>
            <a:noFill/>
          </a:ln>
        </p:spPr>
        <p:txBody>
          <a:bodyPr wrap="none" lIns="286053" tIns="238383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/>
            <a:r>
              <a:rPr lang="de-DE" sz="1600" b="1" dirty="0">
                <a:solidFill>
                  <a:srgbClr val="FF9900"/>
                </a:solidFill>
                <a:latin typeface="+mn-lt"/>
                <a:cs typeface="+mn-cs"/>
              </a:rPr>
              <a:t>Gigabitfähige Zukunftstechnologie:</a:t>
            </a:r>
          </a:p>
        </p:txBody>
      </p:sp>
      <p:sp>
        <p:nvSpPr>
          <p:cNvPr id="28" name="Oval 1156">
            <a:extLst>
              <a:ext uri="{FF2B5EF4-FFF2-40B4-BE49-F238E27FC236}">
                <a16:creationId xmlns:a16="http://schemas.microsoft.com/office/drawing/2014/main" id="{BA4080BB-E736-484C-A52F-40297E1BCF1C}"/>
              </a:ext>
            </a:extLst>
          </p:cNvPr>
          <p:cNvSpPr/>
          <p:nvPr/>
        </p:nvSpPr>
        <p:spPr bwMode="gray">
          <a:xfrm>
            <a:off x="7590399" y="5596198"/>
            <a:ext cx="187669" cy="18766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42983" tIns="142983" rIns="142983" bIns="142983" numCol="1" rtlCol="0" anchor="ctr" anchorCtr="0" compatLnSpc="1">
            <a:prstTxWarp prst="textNoShape">
              <a:avLst/>
            </a:prstTxWarp>
          </a:bodyPr>
          <a:lstStyle/>
          <a:p>
            <a:pPr algn="ctr" defTabSz="1210894" eaLnBrk="0" fontAlgn="base" hangingPunct="0">
              <a:spcAft>
                <a:spcPct val="0"/>
              </a:spcAft>
            </a:pPr>
            <a:endParaRPr lang="de-DE" sz="1733" dirty="0">
              <a:solidFill>
                <a:srgbClr val="3B3B3B"/>
              </a:solidFill>
            </a:endParaRPr>
          </a:p>
        </p:txBody>
      </p:sp>
      <p:sp>
        <p:nvSpPr>
          <p:cNvPr id="29" name="Oval 1156">
            <a:extLst>
              <a:ext uri="{FF2B5EF4-FFF2-40B4-BE49-F238E27FC236}">
                <a16:creationId xmlns:a16="http://schemas.microsoft.com/office/drawing/2014/main" id="{BA4080BB-E736-484C-A52F-40297E1BCF1C}"/>
              </a:ext>
            </a:extLst>
          </p:cNvPr>
          <p:cNvSpPr/>
          <p:nvPr/>
        </p:nvSpPr>
        <p:spPr bwMode="gray">
          <a:xfrm>
            <a:off x="7559413" y="2990432"/>
            <a:ext cx="187669" cy="187669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42983" tIns="142983" rIns="142983" bIns="142983" numCol="1" rtlCol="0" anchor="ctr" anchorCtr="0" compatLnSpc="1">
            <a:prstTxWarp prst="textNoShape">
              <a:avLst/>
            </a:prstTxWarp>
          </a:bodyPr>
          <a:lstStyle/>
          <a:p>
            <a:pPr algn="ctr" defTabSz="1210894" eaLnBrk="0" fontAlgn="base" hangingPunct="0">
              <a:spcAft>
                <a:spcPct val="0"/>
              </a:spcAft>
            </a:pPr>
            <a:endParaRPr lang="de-DE" sz="1733" dirty="0">
              <a:solidFill>
                <a:srgbClr val="3B3B3B"/>
              </a:solidFill>
            </a:endParaRPr>
          </a:p>
        </p:txBody>
      </p:sp>
      <p:pic>
        <p:nvPicPr>
          <p:cNvPr id="3" name="Grafik 2" descr="Ein Bild, das Schrift, Grafiken, Logo, weiß enthält.&#10;&#10;Automatisch generierte Beschreibung">
            <a:extLst>
              <a:ext uri="{FF2B5EF4-FFF2-40B4-BE49-F238E27FC236}">
                <a16:creationId xmlns:a16="http://schemas.microsoft.com/office/drawing/2014/main" id="{BDDAD704-56BE-3172-0431-B20AC743D1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00012" y="167136"/>
            <a:ext cx="2934109" cy="101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5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E0E288-CE96-258F-53BA-779419E599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Erste Schritte zum Glasfaseranschluss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2B76AD69-E52C-DA33-6EDB-A921E61640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5723583" cy="4429126"/>
          </a:xfrm>
        </p:spPr>
        <p:txBody>
          <a:bodyPr/>
          <a:lstStyle/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>
                <a:solidFill>
                  <a:schemeClr val="tx2"/>
                </a:solidFill>
              </a:rPr>
              <a:t>Ansprechpartner für Glasfaseranschluss,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Internet und Telefonie</a:t>
            </a:r>
          </a:p>
          <a:p>
            <a:pPr lvl="1"/>
            <a:r>
              <a:rPr lang="de-DE" sz="1400" dirty="0"/>
              <a:t>NetCom BW GmbH</a:t>
            </a:r>
            <a:endParaRPr lang="de-DE" sz="800" dirty="0"/>
          </a:p>
          <a:p>
            <a:pPr lvl="2">
              <a:tabLst>
                <a:tab pos="1704975" algn="l"/>
                <a:tab pos="2419350" algn="l"/>
              </a:tabLst>
            </a:pPr>
            <a:r>
              <a:rPr lang="de-DE" sz="1400" b="1" dirty="0"/>
              <a:t>Privatkunden	</a:t>
            </a:r>
            <a:r>
              <a:rPr lang="de-DE" sz="1400" dirty="0"/>
              <a:t>Telefon:	0711 34034034</a:t>
            </a:r>
            <a:br>
              <a:rPr lang="de-DE" sz="1400" dirty="0"/>
            </a:br>
            <a:r>
              <a:rPr lang="de-DE" sz="1400" dirty="0"/>
              <a:t>	www. netcom-bw.de/</a:t>
            </a:r>
            <a:r>
              <a:rPr lang="de-DE" sz="1400" dirty="0" err="1"/>
              <a:t>kontaktformular</a:t>
            </a:r>
            <a:endParaRPr lang="de-DE" sz="1400" dirty="0"/>
          </a:p>
          <a:p>
            <a:pPr lvl="2">
              <a:tabLst>
                <a:tab pos="1704975" algn="l"/>
                <a:tab pos="2419350" algn="l"/>
              </a:tabLst>
            </a:pPr>
            <a:r>
              <a:rPr lang="de-DE" sz="1400" b="1" dirty="0"/>
              <a:t>Gewerbekunden	</a:t>
            </a:r>
            <a:r>
              <a:rPr lang="de-DE" sz="1400" dirty="0"/>
              <a:t>Telefon: 0711 34034040</a:t>
            </a:r>
            <a:br>
              <a:rPr lang="de-DE" sz="1400" dirty="0"/>
            </a:br>
            <a:r>
              <a:rPr lang="de-DE" sz="1400" dirty="0"/>
              <a:t>	www. netcom-bw.de/</a:t>
            </a:r>
            <a:r>
              <a:rPr lang="de-DE" sz="1400" dirty="0" err="1"/>
              <a:t>kontaktformular</a:t>
            </a:r>
            <a:endParaRPr lang="de-DE" sz="1400" dirty="0"/>
          </a:p>
          <a:p>
            <a:pPr marL="0" lvl="2" indent="0">
              <a:buNone/>
              <a:tabLst>
                <a:tab pos="1704975" algn="l"/>
                <a:tab pos="2419350" algn="l"/>
              </a:tabLst>
            </a:pPr>
            <a:br>
              <a:rPr lang="de-DE" sz="1400" dirty="0"/>
            </a:br>
            <a:br>
              <a:rPr lang="de-DE" sz="1400" dirty="0"/>
            </a:br>
            <a:endParaRPr lang="de-DE" sz="1400" dirty="0"/>
          </a:p>
          <a:p>
            <a:pPr lvl="1">
              <a:tabLst>
                <a:tab pos="1704975" algn="l"/>
                <a:tab pos="2419350" algn="l"/>
              </a:tabLst>
            </a:pPr>
            <a:r>
              <a:rPr lang="de-DE" sz="1400" dirty="0"/>
              <a:t>Informationen zu den Produkten finden Sie</a:t>
            </a:r>
            <a:br>
              <a:rPr lang="de-DE" sz="1400" dirty="0"/>
            </a:br>
            <a:r>
              <a:rPr lang="de-DE" sz="1400" dirty="0"/>
              <a:t>auch unter </a:t>
            </a:r>
            <a:r>
              <a:rPr lang="de-DE" sz="1400" dirty="0">
                <a:solidFill>
                  <a:schemeClr val="tx2"/>
                </a:solidFill>
              </a:rPr>
              <a:t>www.netcom-bw.d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02B24E-F997-67B0-F22A-0957D3C99D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</a:t>
            </a:fld>
            <a:endParaRPr lang="de-DE" dirty="0"/>
          </a:p>
        </p:txBody>
      </p:sp>
      <p:sp>
        <p:nvSpPr>
          <p:cNvPr id="9" name="Textfeld 29">
            <a:extLst>
              <a:ext uri="{FF2B5EF4-FFF2-40B4-BE49-F238E27FC236}">
                <a16:creationId xmlns:a16="http://schemas.microsoft.com/office/drawing/2014/main" id="{DFE3D92A-73BD-5556-E401-F471CDCC912B}"/>
              </a:ext>
            </a:extLst>
          </p:cNvPr>
          <p:cNvSpPr txBox="1"/>
          <p:nvPr/>
        </p:nvSpPr>
        <p:spPr bwMode="gray">
          <a:xfrm>
            <a:off x="806822" y="1942456"/>
            <a:ext cx="1511811" cy="2857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>
              <a:spcAft>
                <a:spcPts val="400"/>
              </a:spcAft>
              <a:tabLst>
                <a:tab pos="714375" algn="l"/>
              </a:tabLst>
            </a:pPr>
            <a:r>
              <a:rPr lang="de-DE" sz="1400" kern="0" dirty="0">
                <a:solidFill>
                  <a:schemeClr val="tx1"/>
                </a:solidFill>
                <a:latin typeface="+mn-lt"/>
                <a:cs typeface="EnBW DIN Pro"/>
                <a:sym typeface="EnBW DIN Pro"/>
              </a:rPr>
              <a:t>Glasfaser-Leerrohr</a:t>
            </a:r>
          </a:p>
        </p:txBody>
      </p:sp>
      <p:sp>
        <p:nvSpPr>
          <p:cNvPr id="10" name="Textfeld 29">
            <a:extLst>
              <a:ext uri="{FF2B5EF4-FFF2-40B4-BE49-F238E27FC236}">
                <a16:creationId xmlns:a16="http://schemas.microsoft.com/office/drawing/2014/main" id="{13946164-6EA9-5ECE-804B-7032AC1DB7C4}"/>
              </a:ext>
            </a:extLst>
          </p:cNvPr>
          <p:cNvSpPr txBox="1"/>
          <p:nvPr/>
        </p:nvSpPr>
        <p:spPr bwMode="gray">
          <a:xfrm>
            <a:off x="806822" y="2287486"/>
            <a:ext cx="1517280" cy="42143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>
              <a:spcAft>
                <a:spcPts val="400"/>
              </a:spcAft>
              <a:tabLst>
                <a:tab pos="714375" algn="l"/>
              </a:tabLst>
            </a:pPr>
            <a:r>
              <a:rPr lang="de-DE" sz="1400" kern="0" dirty="0">
                <a:solidFill>
                  <a:schemeClr val="tx1"/>
                </a:solidFill>
                <a:latin typeface="+mn-lt"/>
                <a:cs typeface="EnBW DIN Pro"/>
                <a:sym typeface="EnBW DIN Pro"/>
              </a:rPr>
              <a:t>Glasfaseranschlussbox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3AA3EC1-C7BF-BADC-47C7-687DBA1F35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5032" y="1891804"/>
            <a:ext cx="285750" cy="28575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5195F38B-43A3-D932-065F-EC699928EF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5032" y="2229675"/>
            <a:ext cx="285750" cy="285750"/>
          </a:xfrm>
          <a:prstGeom prst="rect">
            <a:avLst/>
          </a:prstGeom>
        </p:spPr>
      </p:pic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65649B1A-7A7E-7884-A61A-96D60F59E095}"/>
              </a:ext>
            </a:extLst>
          </p:cNvPr>
          <p:cNvCxnSpPr/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4">
            <a:extLst>
              <a:ext uri="{FF2B5EF4-FFF2-40B4-BE49-F238E27FC236}">
                <a16:creationId xmlns:a16="http://schemas.microsoft.com/office/drawing/2014/main" id="{8A723F7E-AF3D-AAA9-165F-ADDB5B6029DA}"/>
              </a:ext>
            </a:extLst>
          </p:cNvPr>
          <p:cNvSpPr txBox="1">
            <a:spLocks/>
          </p:cNvSpPr>
          <p:nvPr/>
        </p:nvSpPr>
        <p:spPr>
          <a:xfrm>
            <a:off x="6384032" y="1844674"/>
            <a:ext cx="1941011" cy="44291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</a:pPr>
            <a:r>
              <a:rPr lang="de-DE" dirty="0"/>
              <a:t>In </a:t>
            </a:r>
            <a:r>
              <a:rPr lang="de-DE" sz="4400" dirty="0"/>
              <a:t>4</a:t>
            </a:r>
            <a:r>
              <a:rPr lang="de-DE" dirty="0"/>
              <a:t> Schritten</a:t>
            </a:r>
            <a:br>
              <a:rPr lang="de-DE" dirty="0"/>
            </a:br>
            <a:r>
              <a:rPr lang="de-DE" sz="1400" dirty="0">
                <a:solidFill>
                  <a:schemeClr val="tx1"/>
                </a:solidFill>
                <a:latin typeface="+mn-lt"/>
              </a:rPr>
              <a:t>zum Glasfaseranschluss</a:t>
            </a:r>
          </a:p>
        </p:txBody>
      </p:sp>
      <p:pic>
        <p:nvPicPr>
          <p:cNvPr id="6" name="Grafik 5" descr="Ein Bild, das Text, Screenshot, Design enthält.&#10;&#10;Automatisch generierte Beschreibung">
            <a:extLst>
              <a:ext uri="{FF2B5EF4-FFF2-40B4-BE49-F238E27FC236}">
                <a16:creationId xmlns:a16="http://schemas.microsoft.com/office/drawing/2014/main" id="{3112211A-C5B2-4FD1-62F8-DA8DCA32E50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43"/>
          <a:stretch/>
        </p:blipFill>
        <p:spPr>
          <a:xfrm>
            <a:off x="8354207" y="1618239"/>
            <a:ext cx="3677950" cy="46800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8850E75-7900-CC03-0B70-9AA0CB3DD9C3}"/>
              </a:ext>
            </a:extLst>
          </p:cNvPr>
          <p:cNvSpPr txBox="1"/>
          <p:nvPr/>
        </p:nvSpPr>
        <p:spPr>
          <a:xfrm>
            <a:off x="9750541" y="6252863"/>
            <a:ext cx="92323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Konverter</a:t>
            </a:r>
            <a:br>
              <a:rPr lang="de-DE" sz="1000" dirty="0"/>
            </a:br>
            <a:r>
              <a:rPr lang="de-DE" sz="1000" dirty="0"/>
              <a:t>Eigentum</a:t>
            </a:r>
            <a:br>
              <a:rPr lang="de-DE" sz="1000" dirty="0"/>
            </a:br>
            <a:r>
              <a:rPr lang="de-DE" sz="1000" dirty="0"/>
              <a:t>NetCom BW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34CA088-9061-FB8F-9A6B-D1CADB6FC45D}"/>
              </a:ext>
            </a:extLst>
          </p:cNvPr>
          <p:cNvSpPr txBox="1"/>
          <p:nvPr/>
        </p:nvSpPr>
        <p:spPr>
          <a:xfrm>
            <a:off x="10547680" y="6252863"/>
            <a:ext cx="223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Hausverkabelung u.</a:t>
            </a:r>
            <a:br>
              <a:rPr lang="de-DE" sz="1000" dirty="0"/>
            </a:br>
            <a:r>
              <a:rPr lang="de-DE" sz="1000" dirty="0"/>
              <a:t>WLAN-Router</a:t>
            </a:r>
            <a:br>
              <a:rPr lang="de-DE" sz="1000" dirty="0"/>
            </a:br>
            <a:r>
              <a:rPr lang="de-DE" sz="1000" dirty="0"/>
              <a:t>Eigentum Kund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B0296A7-CC2E-B071-3E9E-A780C712F135}"/>
              </a:ext>
            </a:extLst>
          </p:cNvPr>
          <p:cNvSpPr/>
          <p:nvPr/>
        </p:nvSpPr>
        <p:spPr>
          <a:xfrm>
            <a:off x="9803900" y="6031555"/>
            <a:ext cx="648200" cy="15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1DEB5D15-6517-9D38-3621-0589D25C74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831059" y="6055540"/>
            <a:ext cx="578826" cy="106829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14305C8F-1FE6-6F08-9BE2-FEB8A41CE744}"/>
              </a:ext>
            </a:extLst>
          </p:cNvPr>
          <p:cNvSpPr txBox="1"/>
          <p:nvPr/>
        </p:nvSpPr>
        <p:spPr>
          <a:xfrm>
            <a:off x="8514203" y="6248392"/>
            <a:ext cx="14623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Leerrohr u. Anschlussbox</a:t>
            </a:r>
            <a:br>
              <a:rPr lang="de-DE" sz="1000" dirty="0"/>
            </a:br>
            <a:r>
              <a:rPr lang="de-DE" sz="1000" dirty="0"/>
              <a:t>Eigentum Kommune</a:t>
            </a:r>
          </a:p>
        </p:txBody>
      </p:sp>
    </p:spTree>
    <p:extLst>
      <p:ext uri="{BB962C8B-B14F-4D97-AF65-F5344CB8AC3E}">
        <p14:creationId xmlns:p14="http://schemas.microsoft.com/office/powerpoint/2010/main" val="280257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85C04F1-324F-C8BD-E0A3-89249A387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6069012" cy="1225104"/>
          </a:xfrm>
        </p:spPr>
        <p:txBody>
          <a:bodyPr/>
          <a:lstStyle/>
          <a:p>
            <a:r>
              <a:rPr lang="de-DE" dirty="0"/>
              <a:t>Angebote für Privatkund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6A2E8C-D1F8-82CE-E8F7-ED1C262038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75723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FB5BFF1-6C5C-2CA4-BA25-A5FEE2B62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5BFF1-6C5C-2CA4-BA25-A5FEE2B62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C770E990-D38E-A1A6-944F-DCF9DE733B4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79" r="666" b="20616"/>
          <a:stretch/>
        </p:blipFill>
        <p:spPr bwMode="auto">
          <a:xfrm flipH="1">
            <a:off x="3722960" y="2614736"/>
            <a:ext cx="8469041" cy="4243264"/>
          </a:xfrm>
          <a:custGeom>
            <a:avLst/>
            <a:gdLst>
              <a:gd name="connsiteX0" fmla="*/ 3594140 w 8469041"/>
              <a:gd name="connsiteY0" fmla="*/ 0 h 4243264"/>
              <a:gd name="connsiteX1" fmla="*/ 2515521 w 8469041"/>
              <a:gd name="connsiteY1" fmla="*/ 446982 h 4243264"/>
              <a:gd name="connsiteX2" fmla="*/ 857030 w 8469041"/>
              <a:gd name="connsiteY2" fmla="*/ 2105473 h 4243264"/>
              <a:gd name="connsiteX3" fmla="*/ 0 w 8469041"/>
              <a:gd name="connsiteY3" fmla="*/ 2962503 h 4243264"/>
              <a:gd name="connsiteX4" fmla="*/ 0 w 8469041"/>
              <a:gd name="connsiteY4" fmla="*/ 3192777 h 4243264"/>
              <a:gd name="connsiteX5" fmla="*/ 0 w 8469041"/>
              <a:gd name="connsiteY5" fmla="*/ 4243264 h 4243264"/>
              <a:gd name="connsiteX6" fmla="*/ 8469041 w 8469041"/>
              <a:gd name="connsiteY6" fmla="*/ 4243264 h 4243264"/>
              <a:gd name="connsiteX7" fmla="*/ 4672426 w 8469041"/>
              <a:gd name="connsiteY7" fmla="*/ 446648 h 4243264"/>
              <a:gd name="connsiteX8" fmla="*/ 3594140 w 8469041"/>
              <a:gd name="connsiteY8" fmla="*/ 0 h 4243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469041" h="4243264">
                <a:moveTo>
                  <a:pt x="3594140" y="0"/>
                </a:moveTo>
                <a:cubicBezTo>
                  <a:pt x="3186824" y="0"/>
                  <a:pt x="2803508" y="158661"/>
                  <a:pt x="2515521" y="446982"/>
                </a:cubicBezTo>
                <a:lnTo>
                  <a:pt x="857030" y="2105473"/>
                </a:lnTo>
                <a:lnTo>
                  <a:pt x="0" y="2962503"/>
                </a:lnTo>
                <a:lnTo>
                  <a:pt x="0" y="3192777"/>
                </a:lnTo>
                <a:lnTo>
                  <a:pt x="0" y="4243264"/>
                </a:lnTo>
                <a:lnTo>
                  <a:pt x="8469041" y="4243264"/>
                </a:lnTo>
                <a:lnTo>
                  <a:pt x="4672426" y="446648"/>
                </a:lnTo>
                <a:cubicBezTo>
                  <a:pt x="4384440" y="158661"/>
                  <a:pt x="4001454" y="0"/>
                  <a:pt x="359414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819C5742-F4F7-974C-D45D-42B60BA49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chemeClr val="tx2"/>
                </a:solidFill>
              </a:rPr>
              <a:t>Ob Internet, Telefon oder TV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wir sind Ihr Ansprechpartner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6F848DA-0260-6F37-5BAC-089F4405C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9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AAC99244-B216-5CC0-9241-49D3207EB1BE}"/>
              </a:ext>
            </a:extLst>
          </p:cNvPr>
          <p:cNvSpPr/>
          <p:nvPr/>
        </p:nvSpPr>
        <p:spPr>
          <a:xfrm flipH="1">
            <a:off x="9791712" y="2989588"/>
            <a:ext cx="2400288" cy="3868412"/>
          </a:xfrm>
          <a:custGeom>
            <a:avLst/>
            <a:gdLst>
              <a:gd name="connsiteX0" fmla="*/ 0 w 2400288"/>
              <a:gd name="connsiteY0" fmla="*/ 0 h 3868412"/>
              <a:gd name="connsiteX1" fmla="*/ 0 w 2400288"/>
              <a:gd name="connsiteY1" fmla="*/ 597975 h 3868412"/>
              <a:gd name="connsiteX2" fmla="*/ 1907392 w 2400288"/>
              <a:gd name="connsiteY2" fmla="*/ 2505368 h 3868412"/>
              <a:gd name="connsiteX3" fmla="*/ 544349 w 2400288"/>
              <a:gd name="connsiteY3" fmla="*/ 3868412 h 3868412"/>
              <a:gd name="connsiteX4" fmla="*/ 1142991 w 2400288"/>
              <a:gd name="connsiteY4" fmla="*/ 3868412 h 3868412"/>
              <a:gd name="connsiteX5" fmla="*/ 2326042 w 2400288"/>
              <a:gd name="connsiteY5" fmla="*/ 2685360 h 3868412"/>
              <a:gd name="connsiteX6" fmla="*/ 2326042 w 2400288"/>
              <a:gd name="connsiteY6" fmla="*/ 2326042 h 3868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00288" h="3868412">
                <a:moveTo>
                  <a:pt x="0" y="0"/>
                </a:moveTo>
                <a:lnTo>
                  <a:pt x="0" y="597975"/>
                </a:lnTo>
                <a:lnTo>
                  <a:pt x="1907392" y="2505368"/>
                </a:lnTo>
                <a:lnTo>
                  <a:pt x="544349" y="3868412"/>
                </a:lnTo>
                <a:lnTo>
                  <a:pt x="1142991" y="3868412"/>
                </a:lnTo>
                <a:lnTo>
                  <a:pt x="2326042" y="2685360"/>
                </a:lnTo>
                <a:cubicBezTo>
                  <a:pt x="2425037" y="2586365"/>
                  <a:pt x="2425037" y="2425038"/>
                  <a:pt x="2326042" y="2326042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6" name="Inhaltsplatzhalter 9">
            <a:extLst>
              <a:ext uri="{FF2B5EF4-FFF2-40B4-BE49-F238E27FC236}">
                <a16:creationId xmlns:a16="http://schemas.microsoft.com/office/drawing/2014/main" id="{8B988121-6014-6BFB-36E1-09527A9F61D3}"/>
              </a:ext>
            </a:extLst>
          </p:cNvPr>
          <p:cNvSpPr txBox="1">
            <a:spLocks/>
          </p:cNvSpPr>
          <p:nvPr/>
        </p:nvSpPr>
        <p:spPr>
          <a:xfrm>
            <a:off x="407989" y="1844675"/>
            <a:ext cx="7488236" cy="44291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>
                <a:solidFill>
                  <a:schemeClr val="tx2"/>
                </a:solidFill>
              </a:rPr>
              <a:t>GLASFASER.home</a:t>
            </a:r>
          </a:p>
          <a:p>
            <a:pPr lvl="2">
              <a:spcAft>
                <a:spcPts val="100"/>
              </a:spcAft>
            </a:pPr>
            <a:r>
              <a:rPr lang="de-DE" sz="1400" dirty="0"/>
              <a:t>Bandbreiten bis zu 1.000 Mbit/s</a:t>
            </a:r>
          </a:p>
          <a:p>
            <a:pPr lvl="2">
              <a:spcAft>
                <a:spcPts val="100"/>
              </a:spcAft>
            </a:pPr>
            <a:r>
              <a:rPr lang="de-DE" sz="1400" dirty="0"/>
              <a:t>Internetflatrate</a:t>
            </a:r>
          </a:p>
          <a:p>
            <a:pPr lvl="2">
              <a:spcAft>
                <a:spcPts val="100"/>
              </a:spcAft>
            </a:pPr>
            <a:r>
              <a:rPr lang="de-DE" sz="1400" dirty="0"/>
              <a:t>Telefonanschluss mit zwei Rufnummern inklusive Flatrate</a:t>
            </a:r>
            <a:br>
              <a:rPr lang="de-DE" sz="1400" dirty="0"/>
            </a:br>
            <a:r>
              <a:rPr lang="de-DE" sz="1400" dirty="0"/>
              <a:t>ins deutsche Festnetz</a:t>
            </a:r>
          </a:p>
          <a:p>
            <a:pPr lvl="2"/>
            <a:r>
              <a:rPr lang="de-DE" sz="1400" dirty="0"/>
              <a:t>4 Rufnummern wählbar</a:t>
            </a:r>
          </a:p>
          <a:p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AA62AD6-01E1-17D7-6DFC-4AA15488E37D}"/>
              </a:ext>
            </a:extLst>
          </p:cNvPr>
          <p:cNvSpPr txBox="1">
            <a:spLocks/>
          </p:cNvSpPr>
          <p:nvPr/>
        </p:nvSpPr>
        <p:spPr>
          <a:xfrm>
            <a:off x="410573" y="3501000"/>
            <a:ext cx="4533427" cy="1784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>
                <a:latin typeface="+mn-lt"/>
              </a:rPr>
              <a:t>Optionen</a:t>
            </a:r>
          </a:p>
          <a:p>
            <a:pPr lvl="2">
              <a:spcAft>
                <a:spcPts val="100"/>
              </a:spcAft>
            </a:pPr>
            <a:r>
              <a:rPr lang="de-DE" sz="1400" dirty="0"/>
              <a:t>waipu.tv powered by NetCom BW: Das TV-Produkt für Fernsehen in HD-Qualität.</a:t>
            </a:r>
          </a:p>
          <a:p>
            <a:pPr lvl="2">
              <a:spcAft>
                <a:spcPts val="100"/>
              </a:spcAft>
            </a:pPr>
            <a:r>
              <a:rPr lang="de-DE" sz="1400" dirty="0"/>
              <a:t>G DATA Internet Security: Das Sicherheitspaket für den Schutz vor Viren und Gefahren des Internets.</a:t>
            </a:r>
          </a:p>
          <a:p>
            <a:pPr lvl="2">
              <a:spcAft>
                <a:spcPts val="100"/>
              </a:spcAft>
            </a:pPr>
            <a:r>
              <a:rPr lang="de-DE" sz="1400" dirty="0"/>
              <a:t>Mobilfunk- und Europa-Minutenpakete mit 60, 120 oder 240 Inklusiv-Minuten.</a:t>
            </a:r>
          </a:p>
          <a:p>
            <a:pPr lvl="2">
              <a:spcAft>
                <a:spcPts val="100"/>
              </a:spcAft>
            </a:pPr>
            <a:r>
              <a:rPr lang="de-DE" sz="1400" dirty="0"/>
              <a:t>Dynamische IPv4-Adresse zusätzlich zur standardmäßig vorhandenen dynamischen</a:t>
            </a:r>
            <a:br>
              <a:rPr lang="de-DE" sz="1400" dirty="0"/>
            </a:br>
            <a:r>
              <a:rPr lang="de-DE" sz="1400" dirty="0"/>
              <a:t>IPv6-WAN-Adresse mit /56 Präfix (Dual Stack).</a:t>
            </a:r>
          </a:p>
          <a:p>
            <a:pPr lvl="2">
              <a:spcAft>
                <a:spcPts val="100"/>
              </a:spcAft>
            </a:pPr>
            <a:r>
              <a:rPr lang="de-DE" sz="1400" dirty="0"/>
              <a:t>Auswahl WLAN-fähiger Standard- oder Premiumrouter inklusive Service &amp; Support.</a:t>
            </a:r>
          </a:p>
          <a:p>
            <a:pPr lvl="2">
              <a:spcAft>
                <a:spcPts val="100"/>
              </a:spcAft>
            </a:pPr>
            <a:r>
              <a:rPr lang="de-DE" sz="1400" dirty="0"/>
              <a:t>Vor-Ort-Installationsservice.</a:t>
            </a:r>
          </a:p>
        </p:txBody>
      </p:sp>
    </p:spTree>
    <p:extLst>
      <p:ext uri="{BB962C8B-B14F-4D97-AF65-F5344CB8AC3E}">
        <p14:creationId xmlns:p14="http://schemas.microsoft.com/office/powerpoint/2010/main" val="167428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_tK_cSliETx2Sa4L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_tK_cSliETx2Sa4LP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jpsg7AS5uwAzoTz2vK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NetCom BW 2023">
  <a:themeElements>
    <a:clrScheme name="NetCom BW">
      <a:dk1>
        <a:srgbClr val="322A26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322A26"/>
      </a:hlink>
      <a:folHlink>
        <a:srgbClr val="322A26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ter_NetCom BW_17082023.potx" id="{5377A4B1-D082-4A6D-9857-A68C419DC380}" vid="{09677112-5AED-40C5-B364-FC89B37000D8}"/>
    </a:ext>
  </a:extLst>
</a:theme>
</file>

<file path=ppt/theme/theme2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E91D473BD0B84884FCC528FF1682BE" ma:contentTypeVersion="14" ma:contentTypeDescription="Ein neues Dokument erstellen." ma:contentTypeScope="" ma:versionID="4dc29f6cf114b15d5a0cb7a82dd5117e">
  <xsd:schema xmlns:xsd="http://www.w3.org/2001/XMLSchema" xmlns:xs="http://www.w3.org/2001/XMLSchema" xmlns:p="http://schemas.microsoft.com/office/2006/metadata/properties" xmlns:ns2="e2ef6001-fd14-4f09-89fd-71838cf2d528" xmlns:ns3="72f2763e-5800-47bd-b0d1-f959dc06dbe0" targetNamespace="http://schemas.microsoft.com/office/2006/metadata/properties" ma:root="true" ma:fieldsID="c7a595e9b69e6426fa44a65ce91560ae" ns2:_="" ns3:_="">
    <xsd:import namespace="e2ef6001-fd14-4f09-89fd-71838cf2d528"/>
    <xsd:import namespace="72f2763e-5800-47bd-b0d1-f959dc06db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f6001-fd14-4f09-89fd-71838cf2d5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edc9490c-4a27-4737-b814-fbfca88d1f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f2763e-5800-47bd-b0d1-f959dc06dbe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d755fb1-9f05-4550-a8cb-ac4fb84df083}" ma:internalName="TaxCatchAll" ma:showField="CatchAllData" ma:web="72f2763e-5800-47bd-b0d1-f959dc06db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2ef6001-fd14-4f09-89fd-71838cf2d528">
      <Terms xmlns="http://schemas.microsoft.com/office/infopath/2007/PartnerControls"/>
    </lcf76f155ced4ddcb4097134ff3c332f>
    <TaxCatchAll xmlns="72f2763e-5800-47bd-b0d1-f959dc06dbe0" xsi:nil="true"/>
  </documentManagement>
</p:properties>
</file>

<file path=customXml/itemProps1.xml><?xml version="1.0" encoding="utf-8"?>
<ds:datastoreItem xmlns:ds="http://schemas.openxmlformats.org/officeDocument/2006/customXml" ds:itemID="{9DCF4A62-6949-4FD1-8E10-B77FA513DE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f6001-fd14-4f09-89fd-71838cf2d528"/>
    <ds:schemaRef ds:uri="72f2763e-5800-47bd-b0d1-f959dc06db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A9859A3-4A4C-477D-8B09-01744063702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078EC9A-143A-40B1-AFDB-626E1455AB49}">
  <ds:schemaRefs>
    <ds:schemaRef ds:uri="72f2763e-5800-47bd-b0d1-f959dc06dbe0"/>
    <ds:schemaRef ds:uri="e2ef6001-fd14-4f09-89fd-71838cf2d528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NetCom BW_17082023</Template>
  <TotalTime>0</TotalTime>
  <Words>1635</Words>
  <Application>Microsoft Office PowerPoint</Application>
  <PresentationFormat>Breitbild</PresentationFormat>
  <Paragraphs>329</Paragraphs>
  <Slides>19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31" baseType="lpstr">
      <vt:lpstr>Arial</vt:lpstr>
      <vt:lpstr>Calibri</vt:lpstr>
      <vt:lpstr>DIN Offc Pro</vt:lpstr>
      <vt:lpstr>DIN-Regular</vt:lpstr>
      <vt:lpstr>EnBW DIN Pro</vt:lpstr>
      <vt:lpstr>EnBW DIN Pro Medium</vt:lpstr>
      <vt:lpstr>EnBWDINPro</vt:lpstr>
      <vt:lpstr>Mark OT Medium</vt:lpstr>
      <vt:lpstr>Wingdings</vt:lpstr>
      <vt:lpstr>Wingdings 2</vt:lpstr>
      <vt:lpstr>Master NetCom BW 2023</vt:lpstr>
      <vt:lpstr>think-cell Folie</vt:lpstr>
      <vt:lpstr>Infoveranstaltung Glasfaser für Schechingen</vt:lpstr>
      <vt:lpstr>NetCom BW – Ihr starker Partner in der Region</vt:lpstr>
      <vt:lpstr>Wir sind für Sie nah.</vt:lpstr>
      <vt:lpstr>Aus der Region für die Region.</vt:lpstr>
      <vt:lpstr>Breitbandausbau in der Region</vt:lpstr>
      <vt:lpstr>Wir bringen Sie ans Highspeed-Netz!</vt:lpstr>
      <vt:lpstr>Erste Schritte zum Glasfaseranschluss</vt:lpstr>
      <vt:lpstr>Angebote für Privatkunden</vt:lpstr>
      <vt:lpstr>Ob Internet, Telefon oder TV wir sind Ihr Ansprechpartner</vt:lpstr>
      <vt:lpstr>Angebote für Privatkunden</vt:lpstr>
      <vt:lpstr>Finden Sie den idealen Tarif im Rahmen unserer einmaligen Sonderaktion</vt:lpstr>
      <vt:lpstr>Angebote für Privatkunden: weitere Optionen</vt:lpstr>
      <vt:lpstr>Telefonie-Optionen</vt:lpstr>
      <vt:lpstr>Die beste Lösung für Fernsehen in bester Qualität </vt:lpstr>
      <vt:lpstr>HD TV unsere vollwertige Lösung für Fernsehen in bester Qualität</vt:lpstr>
      <vt:lpstr>Auswahl Standardrouter oder Premiumrouter</vt:lpstr>
      <vt:lpstr>Anbieterwechselauftrag für Rufnummernmitnahme mit Anschlusskündigung  Komplett-Service durch NetCom BW</vt:lpstr>
      <vt:lpstr>Regionale Ansprechpartner</vt:lpstr>
      <vt:lpstr>Vertriebspartner der NetCom BW für Komplett-Beratu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Flo Witek</dc:creator>
  <cp:lastModifiedBy>Schaffert Philipp</cp:lastModifiedBy>
  <cp:revision>98</cp:revision>
  <dcterms:created xsi:type="dcterms:W3CDTF">2023-08-22T07:43:49Z</dcterms:created>
  <dcterms:modified xsi:type="dcterms:W3CDTF">2025-09-24T14:0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E91D473BD0B84884FCC528FF1682BE</vt:lpwstr>
  </property>
  <property fmtid="{D5CDD505-2E9C-101B-9397-08002B2CF9AE}" pid="3" name="MediaServiceImageTags">
    <vt:lpwstr/>
  </property>
</Properties>
</file>